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4.xml" ContentType="application/vnd.openxmlformats-officedocument.theme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5.xml" ContentType="application/vnd.openxmlformats-officedocument.theme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6.xml" ContentType="application/vnd.openxmlformats-officedocument.theme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7.xml" ContentType="application/vnd.openxmlformats-officedocument.theme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heme/theme8.xml" ContentType="application/vnd.openxmlformats-officedocument.theme+xml"/>
  <Override PartName="/ppt/theme/theme9.xml" ContentType="application/vnd.openxmlformats-officedocument.theme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3" r:id="rId1"/>
    <p:sldMasterId id="2147483727" r:id="rId2"/>
    <p:sldMasterId id="2147483816" r:id="rId3"/>
    <p:sldMasterId id="2147483823" r:id="rId4"/>
    <p:sldMasterId id="2147483837" r:id="rId5"/>
    <p:sldMasterId id="2147483861" r:id="rId6"/>
    <p:sldMasterId id="2147483873" r:id="rId7"/>
  </p:sldMasterIdLst>
  <p:notesMasterIdLst>
    <p:notesMasterId r:id="rId37"/>
  </p:notesMasterIdLst>
  <p:handoutMasterIdLst>
    <p:handoutMasterId r:id="rId38"/>
  </p:handoutMasterIdLst>
  <p:sldIdLst>
    <p:sldId id="3140" r:id="rId8"/>
    <p:sldId id="3165" r:id="rId9"/>
    <p:sldId id="3182" r:id="rId10"/>
    <p:sldId id="2374" r:id="rId11"/>
    <p:sldId id="3191" r:id="rId12"/>
    <p:sldId id="3193" r:id="rId13"/>
    <p:sldId id="3227" r:id="rId14"/>
    <p:sldId id="3284" r:id="rId15"/>
    <p:sldId id="3285" r:id="rId16"/>
    <p:sldId id="3297" r:id="rId17"/>
    <p:sldId id="3295" r:id="rId18"/>
    <p:sldId id="3296" r:id="rId19"/>
    <p:sldId id="260" r:id="rId20"/>
    <p:sldId id="262" r:id="rId21"/>
    <p:sldId id="3266" r:id="rId22"/>
    <p:sldId id="3241" r:id="rId23"/>
    <p:sldId id="269" r:id="rId24"/>
    <p:sldId id="3270" r:id="rId25"/>
    <p:sldId id="3298" r:id="rId26"/>
    <p:sldId id="3198" r:id="rId27"/>
    <p:sldId id="3199" r:id="rId28"/>
    <p:sldId id="3200" r:id="rId29"/>
    <p:sldId id="3201" r:id="rId30"/>
    <p:sldId id="3202" r:id="rId31"/>
    <p:sldId id="3204" r:id="rId32"/>
    <p:sldId id="3173" r:id="rId33"/>
    <p:sldId id="3292" r:id="rId34"/>
    <p:sldId id="3293" r:id="rId35"/>
    <p:sldId id="3294" r:id="rId36"/>
  </p:sldIdLst>
  <p:sldSz cx="12192000" cy="6858000"/>
  <p:notesSz cx="7053263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51C2C"/>
    <a:srgbClr val="0072BB"/>
    <a:srgbClr val="00B050"/>
    <a:srgbClr val="C00000"/>
    <a:srgbClr val="008000"/>
    <a:srgbClr val="DBF4E6"/>
    <a:srgbClr val="AB1514"/>
    <a:srgbClr val="565067"/>
    <a:srgbClr val="EDB1A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243"/>
    <p:restoredTop sz="95109"/>
  </p:normalViewPr>
  <p:slideViewPr>
    <p:cSldViewPr snapToGrid="0" snapToObjects="1">
      <p:cViewPr varScale="1">
        <p:scale>
          <a:sx n="82" d="100"/>
          <a:sy n="82" d="100"/>
        </p:scale>
        <p:origin x="780" y="6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161992507522791E-3"/>
          <c:y val="6.0406904715321758E-2"/>
          <c:w val="0.98761927114064285"/>
          <c:h val="0.8406595863221010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015-4A14-983D-5F3B91AD155E}"/>
              </c:ext>
            </c:extLst>
          </c:dPt>
          <c:dPt>
            <c:idx val="1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E015-4A14-983D-5F3B91AD155E}"/>
              </c:ext>
            </c:extLst>
          </c:dPt>
          <c:dPt>
            <c:idx val="2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015-4A14-983D-5F3B91AD155E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rgbClr val="051C2C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rgbClr val="051C2C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numRef>
              <c:f>Sheet1!$A$2:$A$17</c:f>
              <c:numCache>
                <c:formatCode>General</c:formatCode>
                <c:ptCount val="16"/>
                <c:pt idx="0">
                  <c:v>2008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  <c:pt idx="11">
                  <c:v>2031</c:v>
                </c:pt>
                <c:pt idx="12">
                  <c:v>2032</c:v>
                </c:pt>
                <c:pt idx="13">
                  <c:v>2033</c:v>
                </c:pt>
                <c:pt idx="14">
                  <c:v>2034</c:v>
                </c:pt>
                <c:pt idx="15">
                  <c:v>2035</c:v>
                </c:pt>
              </c:numCache>
            </c:numRef>
          </c:cat>
          <c:val>
            <c:numRef>
              <c:f>Sheet1!$B$2:$B$17</c:f>
              <c:numCache>
                <c:formatCode>General</c:formatCode>
                <c:ptCount val="16"/>
                <c:pt idx="0">
                  <c:v>9.0794801194191788</c:v>
                </c:pt>
                <c:pt idx="2">
                  <c:v>9.7921620088637624</c:v>
                </c:pt>
                <c:pt idx="3">
                  <c:v>9.8503740832756375</c:v>
                </c:pt>
                <c:pt idx="4">
                  <c:v>9.9236213139758007</c:v>
                </c:pt>
                <c:pt idx="5">
                  <c:v>10.000195088160984</c:v>
                </c:pt>
                <c:pt idx="6">
                  <c:v>10.079899419187827</c:v>
                </c:pt>
                <c:pt idx="7">
                  <c:v>10.162581489973828</c:v>
                </c:pt>
                <c:pt idx="8">
                  <c:v>10.248175545554744</c:v>
                </c:pt>
                <c:pt idx="9">
                  <c:v>10.336606286311053</c:v>
                </c:pt>
                <c:pt idx="10">
                  <c:v>10.427883164822155</c:v>
                </c:pt>
                <c:pt idx="11">
                  <c:v>10.522077756712857</c:v>
                </c:pt>
                <c:pt idx="12">
                  <c:v>10.61923823027594</c:v>
                </c:pt>
                <c:pt idx="13">
                  <c:v>10.719284663673328</c:v>
                </c:pt>
                <c:pt idx="14">
                  <c:v>10.8223487802228</c:v>
                </c:pt>
                <c:pt idx="15">
                  <c:v>10.9284690644642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015-4A14-983D-5F3B91AD155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5"/>
        <c:overlap val="-27"/>
        <c:axId val="121849935"/>
        <c:axId val="121850351"/>
      </c:barChart>
      <c:catAx>
        <c:axId val="12184993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051C2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51C2C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1850351"/>
        <c:crosses val="autoZero"/>
        <c:auto val="1"/>
        <c:lblAlgn val="ctr"/>
        <c:lblOffset val="100"/>
        <c:noMultiLvlLbl val="0"/>
      </c:catAx>
      <c:valAx>
        <c:axId val="121850351"/>
        <c:scaling>
          <c:orientation val="minMax"/>
          <c:max val="12"/>
          <c:min val="5"/>
        </c:scaling>
        <c:delete val="1"/>
        <c:axPos val="l"/>
        <c:numFmt formatCode="General" sourceLinked="1"/>
        <c:majorTickMark val="none"/>
        <c:minorTickMark val="none"/>
        <c:tickLblPos val="nextTo"/>
        <c:crossAx val="121849935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rgbClr val="051C2C"/>
                </a:solidFill>
                <a:latin typeface="+mn-lt"/>
                <a:ea typeface="+mn-ea"/>
                <a:cs typeface="+mn-cs"/>
              </a:defRPr>
            </a:pPr>
            <a:r>
              <a:rPr lang="en-US" sz="1200" b="1" dirty="0">
                <a:solidFill>
                  <a:srgbClr val="051C2C"/>
                </a:solidFill>
              </a:rPr>
              <a:t>Years Living with Disability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rgbClr val="051C2C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6256448813341329"/>
          <c:y val="0.23385290374410866"/>
          <c:w val="0.80381359644267136"/>
          <c:h val="0.59509768783674144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bg2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4.2149655790526562E-2"/>
                  <c:y val="-4.4023287600436813E-2"/>
                </c:manualLayout>
              </c:layout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bg2">
                          <a:lumMod val="5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247030826266393"/>
                      <c:h val="7.121155270697765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BBB3-483A-ABF0-9C2348595DCC}"/>
                </c:ext>
              </c:extLst>
            </c:dLbl>
            <c:dLbl>
              <c:idx val="12"/>
              <c:layout>
                <c:manualLayout>
                  <c:x val="-3.3085938289705984E-2"/>
                  <c:y val="-4.4023707772211457E-2"/>
                </c:manualLayout>
              </c:layout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bg2">
                          <a:lumMod val="5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247030826266393"/>
                      <c:h val="7.121155270697765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BBB3-483A-ABF0-9C2348595DC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2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14</c:f>
              <c:numCache>
                <c:formatCode>General</c:formatCode>
                <c:ptCount val="13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  <c:pt idx="3">
                  <c:v>2026</c:v>
                </c:pt>
                <c:pt idx="4">
                  <c:v>2027</c:v>
                </c:pt>
                <c:pt idx="5">
                  <c:v>2028</c:v>
                </c:pt>
                <c:pt idx="6">
                  <c:v>2029</c:v>
                </c:pt>
                <c:pt idx="7">
                  <c:v>2030</c:v>
                </c:pt>
                <c:pt idx="8">
                  <c:v>2031</c:v>
                </c:pt>
                <c:pt idx="9">
                  <c:v>2032</c:v>
                </c:pt>
                <c:pt idx="10">
                  <c:v>2033</c:v>
                </c:pt>
                <c:pt idx="11">
                  <c:v>2034</c:v>
                </c:pt>
                <c:pt idx="12">
                  <c:v>2035</c:v>
                </c:pt>
              </c:numCache>
            </c:numRef>
          </c:cat>
          <c:val>
            <c:numRef>
              <c:f>Sheet1!$B$2:$B$14</c:f>
              <c:numCache>
                <c:formatCode>General</c:formatCode>
                <c:ptCount val="13"/>
                <c:pt idx="0">
                  <c:v>24542.578336085775</c:v>
                </c:pt>
                <c:pt idx="1">
                  <c:v>25252.350049586013</c:v>
                </c:pt>
                <c:pt idx="2">
                  <c:v>25851.447965422602</c:v>
                </c:pt>
                <c:pt idx="3">
                  <c:v>26459.949944611577</c:v>
                </c:pt>
                <c:pt idx="4">
                  <c:v>27205.163407571232</c:v>
                </c:pt>
                <c:pt idx="5">
                  <c:v>27750.991331087913</c:v>
                </c:pt>
                <c:pt idx="6">
                  <c:v>28377.273712652957</c:v>
                </c:pt>
                <c:pt idx="7">
                  <c:v>29007.224967730519</c:v>
                </c:pt>
                <c:pt idx="8">
                  <c:v>29669.18720944985</c:v>
                </c:pt>
                <c:pt idx="9">
                  <c:v>30322.048774432773</c:v>
                </c:pt>
                <c:pt idx="10">
                  <c:v>30960.255430552141</c:v>
                </c:pt>
                <c:pt idx="11">
                  <c:v>31587.656015855056</c:v>
                </c:pt>
                <c:pt idx="12">
                  <c:v>32207.5206840930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86-4820-BE57-982BD3DBDF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5136063"/>
        <c:axId val="485156447"/>
      </c:lineChart>
      <c:catAx>
        <c:axId val="48513606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051C2C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rgbClr val="051C2C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5156447"/>
        <c:crosses val="autoZero"/>
        <c:auto val="1"/>
        <c:lblAlgn val="ctr"/>
        <c:lblOffset val="100"/>
        <c:noMultiLvlLbl val="0"/>
      </c:catAx>
      <c:valAx>
        <c:axId val="485156447"/>
        <c:scaling>
          <c:orientation val="minMax"/>
          <c:min val="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2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000" b="1" dirty="0">
                    <a:solidFill>
                      <a:schemeClr val="bg2">
                        <a:lumMod val="50000"/>
                      </a:schemeClr>
                    </a:solidFill>
                  </a:rPr>
                  <a:t>YLDs</a:t>
                </a:r>
              </a:p>
            </c:rich>
          </c:tx>
          <c:layout>
            <c:manualLayout>
              <c:xMode val="edge"/>
              <c:yMode val="edge"/>
              <c:x val="8.927015654286807E-3"/>
              <c:y val="0.4121206632161526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bg2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51C2C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513606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2">
          <a:lumMod val="40000"/>
          <a:lumOff val="60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rgbClr val="051C2C"/>
                </a:solidFill>
                <a:latin typeface="+mn-lt"/>
                <a:ea typeface="+mn-ea"/>
                <a:cs typeface="+mn-cs"/>
              </a:defRPr>
            </a:pPr>
            <a:r>
              <a:rPr lang="en-US" sz="1200" b="1" dirty="0">
                <a:solidFill>
                  <a:srgbClr val="051C2C"/>
                </a:solidFill>
              </a:rPr>
              <a:t>Years of Life Lost due</a:t>
            </a:r>
            <a:r>
              <a:rPr lang="en-US" sz="1200" b="1" baseline="0" dirty="0">
                <a:solidFill>
                  <a:srgbClr val="051C2C"/>
                </a:solidFill>
              </a:rPr>
              <a:t> to Premature Mortality - Pakistan</a:t>
            </a:r>
            <a:endParaRPr lang="en-US" sz="1200" b="1" dirty="0">
              <a:solidFill>
                <a:srgbClr val="051C2C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rgbClr val="051C2C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0257455981811229"/>
          <c:y val="0.23109027432594995"/>
          <c:w val="0.76083311068852255"/>
          <c:h val="0.60319691896441108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bg2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5.5770167690832824E-2"/>
                  <c:y val="-4.1768855943686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B31-4472-8879-8726799ECE4B}"/>
                </c:ext>
              </c:extLst>
            </c:dLbl>
            <c:dLbl>
              <c:idx val="12"/>
              <c:layout>
                <c:manualLayout>
                  <c:x val="-2.1728299988998848E-2"/>
                  <c:y val="-3.643267440595063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B31-4472-8879-8726799ECE4B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2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14</c:f>
              <c:numCache>
                <c:formatCode>General</c:formatCode>
                <c:ptCount val="13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  <c:pt idx="3">
                  <c:v>2026</c:v>
                </c:pt>
                <c:pt idx="4">
                  <c:v>2027</c:v>
                </c:pt>
                <c:pt idx="5">
                  <c:v>2028</c:v>
                </c:pt>
                <c:pt idx="6">
                  <c:v>2029</c:v>
                </c:pt>
                <c:pt idx="7">
                  <c:v>2030</c:v>
                </c:pt>
                <c:pt idx="8">
                  <c:v>2031</c:v>
                </c:pt>
                <c:pt idx="9">
                  <c:v>2032</c:v>
                </c:pt>
                <c:pt idx="10">
                  <c:v>2033</c:v>
                </c:pt>
                <c:pt idx="11">
                  <c:v>2034</c:v>
                </c:pt>
                <c:pt idx="12">
                  <c:v>2035</c:v>
                </c:pt>
              </c:numCache>
            </c:numRef>
          </c:cat>
          <c:val>
            <c:numRef>
              <c:f>Sheet1!$B$2:$B$14</c:f>
              <c:numCache>
                <c:formatCode>General</c:formatCode>
                <c:ptCount val="13"/>
                <c:pt idx="0">
                  <c:v>282385.93888053205</c:v>
                </c:pt>
                <c:pt idx="1">
                  <c:v>291459.31038396875</c:v>
                </c:pt>
                <c:pt idx="2">
                  <c:v>301356.57572093466</c:v>
                </c:pt>
                <c:pt idx="3">
                  <c:v>311669.72320915898</c:v>
                </c:pt>
                <c:pt idx="4">
                  <c:v>322193.29943280551</c:v>
                </c:pt>
                <c:pt idx="5">
                  <c:v>332704.38785612804</c:v>
                </c:pt>
                <c:pt idx="6">
                  <c:v>343019.35897308215</c:v>
                </c:pt>
                <c:pt idx="7">
                  <c:v>353043.41985219461</c:v>
                </c:pt>
                <c:pt idx="8">
                  <c:v>362650.69942709769</c:v>
                </c:pt>
                <c:pt idx="9">
                  <c:v>371620.23532344284</c:v>
                </c:pt>
                <c:pt idx="10">
                  <c:v>380239.83186735527</c:v>
                </c:pt>
                <c:pt idx="11">
                  <c:v>388398.04085176717</c:v>
                </c:pt>
                <c:pt idx="12">
                  <c:v>396251.381454095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EEE-42C2-8F2D-4F9B76520A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5136063"/>
        <c:axId val="485156447"/>
      </c:lineChart>
      <c:catAx>
        <c:axId val="48513606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051C2C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rgbClr val="051C2C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5156447"/>
        <c:crosses val="autoZero"/>
        <c:auto val="1"/>
        <c:lblAlgn val="ctr"/>
        <c:lblOffset val="100"/>
        <c:noMultiLvlLbl val="0"/>
      </c:catAx>
      <c:valAx>
        <c:axId val="485156447"/>
        <c:scaling>
          <c:orientation val="minMax"/>
          <c:min val="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rgbClr val="051C2C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00" b="1" dirty="0">
                    <a:solidFill>
                      <a:srgbClr val="051C2C"/>
                    </a:solidFill>
                  </a:rPr>
                  <a:t>YLLs</a:t>
                </a:r>
              </a:p>
            </c:rich>
          </c:tx>
          <c:layout>
            <c:manualLayout>
              <c:xMode val="edge"/>
              <c:yMode val="edge"/>
              <c:x val="1.5820878320681874E-3"/>
              <c:y val="0.4582620266817480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1" i="0" u="none" strike="noStrike" kern="1200" baseline="0">
                  <a:solidFill>
                    <a:srgbClr val="051C2C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51C2C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513606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2">
          <a:lumMod val="40000"/>
          <a:lumOff val="60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559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95738" y="0"/>
            <a:ext cx="3055937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C993C7F-EA8F-40EF-8ED6-63D7265D4FA4}" type="datetimeFigureOut">
              <a:rPr lang="en-US" smtClean="0"/>
              <a:t>5/31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375"/>
            <a:ext cx="30559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95738" y="8842375"/>
            <a:ext cx="3055937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26D934-7D15-4E69-96A7-8325656949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50713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56414" cy="467072"/>
          </a:xfrm>
          <a:prstGeom prst="rect">
            <a:avLst/>
          </a:prstGeom>
        </p:spPr>
        <p:txBody>
          <a:bodyPr vert="horz" lIns="93497" tIns="46749" rIns="93497" bIns="4674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95217" y="0"/>
            <a:ext cx="3056414" cy="467072"/>
          </a:xfrm>
          <a:prstGeom prst="rect">
            <a:avLst/>
          </a:prstGeom>
        </p:spPr>
        <p:txBody>
          <a:bodyPr vert="horz" lIns="93497" tIns="46749" rIns="93497" bIns="46749" rtlCol="0"/>
          <a:lstStyle>
            <a:lvl1pPr algn="r">
              <a:defRPr sz="1200"/>
            </a:lvl1pPr>
          </a:lstStyle>
          <a:p>
            <a:fld id="{DBDBE2EB-133A-F44E-8677-38B0A3DA77BD}" type="datetimeFigureOut">
              <a:rPr lang="en-US" smtClean="0"/>
              <a:t>5/31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3425" y="1163638"/>
            <a:ext cx="5586413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497" tIns="46749" rIns="93497" bIns="4674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5327" y="4480004"/>
            <a:ext cx="5642610" cy="3665458"/>
          </a:xfrm>
          <a:prstGeom prst="rect">
            <a:avLst/>
          </a:prstGeom>
        </p:spPr>
        <p:txBody>
          <a:bodyPr vert="horz" lIns="93497" tIns="46749" rIns="93497" bIns="4674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56414" cy="467071"/>
          </a:xfrm>
          <a:prstGeom prst="rect">
            <a:avLst/>
          </a:prstGeom>
        </p:spPr>
        <p:txBody>
          <a:bodyPr vert="horz" lIns="93497" tIns="46749" rIns="93497" bIns="4674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95217" y="8842030"/>
            <a:ext cx="3056414" cy="467071"/>
          </a:xfrm>
          <a:prstGeom prst="rect">
            <a:avLst/>
          </a:prstGeom>
        </p:spPr>
        <p:txBody>
          <a:bodyPr vert="horz" lIns="93497" tIns="46749" rIns="93497" bIns="46749" rtlCol="0" anchor="b"/>
          <a:lstStyle>
            <a:lvl1pPr algn="r">
              <a:defRPr sz="1200"/>
            </a:lvl1pPr>
          </a:lstStyle>
          <a:p>
            <a:fld id="{A25F6CBD-12CA-2641-A9A7-3FB0F77067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82443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5F6CBD-12CA-2641-A9A7-3FB0F770672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8254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588513E-1CB7-4797-96B6-C3015A8C4BD2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53496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5F6CBD-12CA-2641-A9A7-3FB0F770672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92212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63" name="Google Shape;263;p2:notes"/>
          <p:cNvSpPr txBox="1">
            <a:spLocks noGrp="1"/>
          </p:cNvSpPr>
          <p:nvPr>
            <p:ph type="body" idx="1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62" tIns="93162" rIns="93162" bIns="93162" anchor="t" anchorCtr="0">
            <a:noAutofit/>
          </a:bodyPr>
          <a:lstStyle/>
          <a:p>
            <a:pPr>
              <a:buSzPts val="1100"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85790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" name="Google Shape;293;g2241db82a81_0_698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94" name="Google Shape;294;g2241db82a81_0_698:notes"/>
          <p:cNvSpPr txBox="1">
            <a:spLocks noGrp="1"/>
          </p:cNvSpPr>
          <p:nvPr>
            <p:ph type="body" idx="1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spcFirstLastPara="1" wrap="square" lIns="93162" tIns="93162" rIns="93162" bIns="93162" anchor="t" anchorCtr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375838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9" name="Google Shape;369;g2f65612a29d_0_205:notes"/>
          <p:cNvSpPr txBox="1">
            <a:spLocks noGrp="1"/>
          </p:cNvSpPr>
          <p:nvPr>
            <p:ph type="body" idx="1"/>
          </p:nvPr>
        </p:nvSpPr>
        <p:spPr>
          <a:xfrm>
            <a:off x="701040" y="4473894"/>
            <a:ext cx="5608320" cy="36603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62" tIns="46568" rIns="93162" bIns="46568" anchor="t" anchorCtr="0">
            <a:noAutofit/>
          </a:bodyPr>
          <a:lstStyle/>
          <a:p>
            <a:pPr>
              <a:buSzPts val="1400"/>
            </a:pPr>
            <a:endParaRPr/>
          </a:p>
        </p:txBody>
      </p:sp>
      <p:sp>
        <p:nvSpPr>
          <p:cNvPr id="370" name="Google Shape;370;g2f65612a29d_0_205:notes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0370441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0" name="Google Shape;520;g2f65612a29d_0_149:notes"/>
          <p:cNvSpPr>
            <a:spLocks noGrp="1" noRot="1" noChangeAspect="1"/>
          </p:cNvSpPr>
          <p:nvPr>
            <p:ph type="sldImg" idx="2"/>
          </p:nvPr>
        </p:nvSpPr>
        <p:spPr>
          <a:xfrm>
            <a:off x="-1746250" y="1549400"/>
            <a:ext cx="7435850" cy="41830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521" name="Google Shape;521;g2f65612a29d_0_149:notes"/>
          <p:cNvSpPr txBox="1">
            <a:spLocks noGrp="1"/>
          </p:cNvSpPr>
          <p:nvPr>
            <p:ph type="body" idx="1"/>
          </p:nvPr>
        </p:nvSpPr>
        <p:spPr>
          <a:xfrm>
            <a:off x="394336" y="5965190"/>
            <a:ext cx="3154680" cy="48809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62" tIns="46568" rIns="93162" bIns="46568" anchor="t" anchorCtr="0">
            <a:noAutofit/>
          </a:bodyPr>
          <a:lstStyle/>
          <a:p>
            <a:pPr>
              <a:buSzPts val="1400"/>
            </a:pPr>
            <a:r>
              <a:rPr lang="en-US">
                <a:latin typeface="Arial"/>
                <a:ea typeface="Arial"/>
                <a:cs typeface="Arial"/>
                <a:sym typeface="Arial"/>
              </a:rPr>
              <a:t>Add shahid bhai pic</a:t>
            </a:r>
            <a:endParaRPr/>
          </a:p>
        </p:txBody>
      </p:sp>
      <p:sp>
        <p:nvSpPr>
          <p:cNvPr id="522" name="Google Shape;522;g2f65612a29d_0_149:notes"/>
          <p:cNvSpPr txBox="1">
            <a:spLocks noGrp="1"/>
          </p:cNvSpPr>
          <p:nvPr>
            <p:ph type="sldNum" idx="12"/>
          </p:nvPr>
        </p:nvSpPr>
        <p:spPr>
          <a:xfrm>
            <a:off x="2233653" y="11773289"/>
            <a:ext cx="1708747" cy="6218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62" tIns="46568" rIns="93162" bIns="46568" anchor="b" anchorCtr="0">
            <a:noAutofit/>
          </a:bodyPr>
          <a:lstStyle/>
          <a:p>
            <a:pPr>
              <a:buClr>
                <a:srgbClr val="000000"/>
              </a:buClr>
              <a:buSzPts val="1200"/>
            </a:pPr>
            <a:fld id="{00000000-1234-1234-1234-123412341234}" type="slidenum">
              <a:rPr lang="en-US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pPr>
                <a:buClr>
                  <a:srgbClr val="000000"/>
                </a:buClr>
                <a:buSzPts val="1200"/>
              </a:pPr>
              <a:t>17</a:t>
            </a:fld>
            <a:endParaRPr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843355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3.xml"/><Relationship Id="rId7" Type="http://schemas.openxmlformats.org/officeDocument/2006/relationships/oleObject" Target="../embeddings/oleObject2.bin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5.xml"/><Relationship Id="rId4" Type="http://schemas.openxmlformats.org/officeDocument/2006/relationships/tags" Target="../tags/tag24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2.xml"/><Relationship Id="rId13" Type="http://schemas.openxmlformats.org/officeDocument/2006/relationships/oleObject" Target="../embeddings/oleObject11.bin"/><Relationship Id="rId3" Type="http://schemas.openxmlformats.org/officeDocument/2006/relationships/tags" Target="../tags/tag87.xml"/><Relationship Id="rId7" Type="http://schemas.openxmlformats.org/officeDocument/2006/relationships/tags" Target="../tags/tag91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tags" Target="../tags/tag90.xml"/><Relationship Id="rId11" Type="http://schemas.openxmlformats.org/officeDocument/2006/relationships/tags" Target="../tags/tag95.xml"/><Relationship Id="rId5" Type="http://schemas.openxmlformats.org/officeDocument/2006/relationships/tags" Target="../tags/tag89.xml"/><Relationship Id="rId10" Type="http://schemas.openxmlformats.org/officeDocument/2006/relationships/tags" Target="../tags/tag94.xml"/><Relationship Id="rId4" Type="http://schemas.openxmlformats.org/officeDocument/2006/relationships/tags" Target="../tags/tag88.xml"/><Relationship Id="rId9" Type="http://schemas.openxmlformats.org/officeDocument/2006/relationships/tags" Target="../tags/tag93.xml"/><Relationship Id="rId14" Type="http://schemas.openxmlformats.org/officeDocument/2006/relationships/image" Target="../media/image3.emf"/></Relationships>
</file>

<file path=ppt/slideLayouts/_rels/slideLayout100.xml.rels><?xml version="1.0" encoding="UTF-8" standalone="yes"?>
<Relationships xmlns="http://schemas.openxmlformats.org/package/2006/relationships"><Relationship Id="rId8" Type="http://schemas.openxmlformats.org/officeDocument/2006/relationships/tags" Target="../tags/tag527.xml"/><Relationship Id="rId3" Type="http://schemas.openxmlformats.org/officeDocument/2006/relationships/tags" Target="../tags/tag522.xml"/><Relationship Id="rId7" Type="http://schemas.openxmlformats.org/officeDocument/2006/relationships/tags" Target="../tags/tag526.xml"/><Relationship Id="rId12" Type="http://schemas.openxmlformats.org/officeDocument/2006/relationships/image" Target="../media/image1.emf"/><Relationship Id="rId2" Type="http://schemas.openxmlformats.org/officeDocument/2006/relationships/tags" Target="../tags/tag521.xml"/><Relationship Id="rId1" Type="http://schemas.openxmlformats.org/officeDocument/2006/relationships/tags" Target="../tags/tag520.xml"/><Relationship Id="rId6" Type="http://schemas.openxmlformats.org/officeDocument/2006/relationships/tags" Target="../tags/tag525.xml"/><Relationship Id="rId11" Type="http://schemas.openxmlformats.org/officeDocument/2006/relationships/oleObject" Target="../embeddings/oleObject8.bin"/><Relationship Id="rId5" Type="http://schemas.openxmlformats.org/officeDocument/2006/relationships/tags" Target="../tags/tag524.xml"/><Relationship Id="rId10" Type="http://schemas.openxmlformats.org/officeDocument/2006/relationships/slideMaster" Target="../slideMasters/slideMaster7.xml"/><Relationship Id="rId4" Type="http://schemas.openxmlformats.org/officeDocument/2006/relationships/tags" Target="../tags/tag523.xml"/><Relationship Id="rId9" Type="http://schemas.openxmlformats.org/officeDocument/2006/relationships/tags" Target="../tags/tag528.xml"/></Relationships>
</file>

<file path=ppt/slideLayouts/_rels/slideLayout101.xml.rels><?xml version="1.0" encoding="UTF-8" standalone="yes"?>
<Relationships xmlns="http://schemas.openxmlformats.org/package/2006/relationships"><Relationship Id="rId8" Type="http://schemas.openxmlformats.org/officeDocument/2006/relationships/tags" Target="../tags/tag536.xml"/><Relationship Id="rId3" Type="http://schemas.openxmlformats.org/officeDocument/2006/relationships/tags" Target="../tags/tag531.xml"/><Relationship Id="rId7" Type="http://schemas.openxmlformats.org/officeDocument/2006/relationships/tags" Target="../tags/tag535.xml"/><Relationship Id="rId12" Type="http://schemas.openxmlformats.org/officeDocument/2006/relationships/image" Target="../media/image1.emf"/><Relationship Id="rId2" Type="http://schemas.openxmlformats.org/officeDocument/2006/relationships/tags" Target="../tags/tag530.xml"/><Relationship Id="rId1" Type="http://schemas.openxmlformats.org/officeDocument/2006/relationships/tags" Target="../tags/tag529.xml"/><Relationship Id="rId6" Type="http://schemas.openxmlformats.org/officeDocument/2006/relationships/tags" Target="../tags/tag534.xml"/><Relationship Id="rId11" Type="http://schemas.openxmlformats.org/officeDocument/2006/relationships/oleObject" Target="../embeddings/oleObject8.bin"/><Relationship Id="rId5" Type="http://schemas.openxmlformats.org/officeDocument/2006/relationships/tags" Target="../tags/tag533.xml"/><Relationship Id="rId10" Type="http://schemas.openxmlformats.org/officeDocument/2006/relationships/slideMaster" Target="../slideMasters/slideMaster7.xml"/><Relationship Id="rId4" Type="http://schemas.openxmlformats.org/officeDocument/2006/relationships/tags" Target="../tags/tag532.xml"/><Relationship Id="rId9" Type="http://schemas.openxmlformats.org/officeDocument/2006/relationships/tags" Target="../tags/tag537.xml"/></Relationships>
</file>

<file path=ppt/slideLayouts/_rels/slideLayout102.xml.rels><?xml version="1.0" encoding="UTF-8" standalone="yes"?>
<Relationships xmlns="http://schemas.openxmlformats.org/package/2006/relationships"><Relationship Id="rId8" Type="http://schemas.openxmlformats.org/officeDocument/2006/relationships/tags" Target="../tags/tag545.xml"/><Relationship Id="rId3" Type="http://schemas.openxmlformats.org/officeDocument/2006/relationships/tags" Target="../tags/tag540.xml"/><Relationship Id="rId7" Type="http://schemas.openxmlformats.org/officeDocument/2006/relationships/tags" Target="../tags/tag544.xml"/><Relationship Id="rId12" Type="http://schemas.openxmlformats.org/officeDocument/2006/relationships/image" Target="../media/image1.emf"/><Relationship Id="rId2" Type="http://schemas.openxmlformats.org/officeDocument/2006/relationships/tags" Target="../tags/tag539.xml"/><Relationship Id="rId1" Type="http://schemas.openxmlformats.org/officeDocument/2006/relationships/tags" Target="../tags/tag538.xml"/><Relationship Id="rId6" Type="http://schemas.openxmlformats.org/officeDocument/2006/relationships/tags" Target="../tags/tag543.xml"/><Relationship Id="rId11" Type="http://schemas.openxmlformats.org/officeDocument/2006/relationships/oleObject" Target="../embeddings/oleObject9.bin"/><Relationship Id="rId5" Type="http://schemas.openxmlformats.org/officeDocument/2006/relationships/tags" Target="../tags/tag542.xml"/><Relationship Id="rId10" Type="http://schemas.openxmlformats.org/officeDocument/2006/relationships/slideMaster" Target="../slideMasters/slideMaster7.xml"/><Relationship Id="rId4" Type="http://schemas.openxmlformats.org/officeDocument/2006/relationships/tags" Target="../tags/tag541.xml"/><Relationship Id="rId9" Type="http://schemas.openxmlformats.org/officeDocument/2006/relationships/tags" Target="../tags/tag546.xml"/></Relationships>
</file>

<file path=ppt/slideLayouts/_rels/slideLayout103.xml.rels><?xml version="1.0" encoding="UTF-8" standalone="yes"?>
<Relationships xmlns="http://schemas.openxmlformats.org/package/2006/relationships"><Relationship Id="rId8" Type="http://schemas.openxmlformats.org/officeDocument/2006/relationships/tags" Target="../tags/tag554.xml"/><Relationship Id="rId13" Type="http://schemas.openxmlformats.org/officeDocument/2006/relationships/oleObject" Target="../embeddings/oleObject10.bin"/><Relationship Id="rId3" Type="http://schemas.openxmlformats.org/officeDocument/2006/relationships/tags" Target="../tags/tag549.xml"/><Relationship Id="rId7" Type="http://schemas.openxmlformats.org/officeDocument/2006/relationships/tags" Target="../tags/tag553.xml"/><Relationship Id="rId12" Type="http://schemas.openxmlformats.org/officeDocument/2006/relationships/slideMaster" Target="../slideMasters/slideMaster7.xml"/><Relationship Id="rId2" Type="http://schemas.openxmlformats.org/officeDocument/2006/relationships/tags" Target="../tags/tag548.xml"/><Relationship Id="rId1" Type="http://schemas.openxmlformats.org/officeDocument/2006/relationships/tags" Target="../tags/tag547.xml"/><Relationship Id="rId6" Type="http://schemas.openxmlformats.org/officeDocument/2006/relationships/tags" Target="../tags/tag552.xml"/><Relationship Id="rId11" Type="http://schemas.openxmlformats.org/officeDocument/2006/relationships/tags" Target="../tags/tag557.xml"/><Relationship Id="rId5" Type="http://schemas.openxmlformats.org/officeDocument/2006/relationships/tags" Target="../tags/tag551.xml"/><Relationship Id="rId10" Type="http://schemas.openxmlformats.org/officeDocument/2006/relationships/tags" Target="../tags/tag556.xml"/><Relationship Id="rId4" Type="http://schemas.openxmlformats.org/officeDocument/2006/relationships/tags" Target="../tags/tag550.xml"/><Relationship Id="rId9" Type="http://schemas.openxmlformats.org/officeDocument/2006/relationships/tags" Target="../tags/tag555.xml"/><Relationship Id="rId14" Type="http://schemas.openxmlformats.org/officeDocument/2006/relationships/image" Target="../media/image1.emf"/></Relationships>
</file>

<file path=ppt/slideLayouts/_rels/slideLayout104.xml.rels><?xml version="1.0" encoding="UTF-8" standalone="yes"?>
<Relationships xmlns="http://schemas.openxmlformats.org/package/2006/relationships"><Relationship Id="rId8" Type="http://schemas.openxmlformats.org/officeDocument/2006/relationships/tags" Target="../tags/tag565.xml"/><Relationship Id="rId13" Type="http://schemas.openxmlformats.org/officeDocument/2006/relationships/oleObject" Target="../embeddings/oleObject11.bin"/><Relationship Id="rId3" Type="http://schemas.openxmlformats.org/officeDocument/2006/relationships/tags" Target="../tags/tag560.xml"/><Relationship Id="rId7" Type="http://schemas.openxmlformats.org/officeDocument/2006/relationships/tags" Target="../tags/tag564.xml"/><Relationship Id="rId12" Type="http://schemas.openxmlformats.org/officeDocument/2006/relationships/slideMaster" Target="../slideMasters/slideMaster7.xml"/><Relationship Id="rId2" Type="http://schemas.openxmlformats.org/officeDocument/2006/relationships/tags" Target="../tags/tag559.xml"/><Relationship Id="rId1" Type="http://schemas.openxmlformats.org/officeDocument/2006/relationships/tags" Target="../tags/tag558.xml"/><Relationship Id="rId6" Type="http://schemas.openxmlformats.org/officeDocument/2006/relationships/tags" Target="../tags/tag563.xml"/><Relationship Id="rId11" Type="http://schemas.openxmlformats.org/officeDocument/2006/relationships/tags" Target="../tags/tag568.xml"/><Relationship Id="rId5" Type="http://schemas.openxmlformats.org/officeDocument/2006/relationships/tags" Target="../tags/tag562.xml"/><Relationship Id="rId10" Type="http://schemas.openxmlformats.org/officeDocument/2006/relationships/tags" Target="../tags/tag567.xml"/><Relationship Id="rId4" Type="http://schemas.openxmlformats.org/officeDocument/2006/relationships/tags" Target="../tags/tag561.xml"/><Relationship Id="rId9" Type="http://schemas.openxmlformats.org/officeDocument/2006/relationships/tags" Target="../tags/tag566.xml"/><Relationship Id="rId14" Type="http://schemas.openxmlformats.org/officeDocument/2006/relationships/image" Target="../media/image3.emf"/></Relationships>
</file>

<file path=ppt/slideLayouts/_rels/slideLayout105.xml.rels><?xml version="1.0" encoding="UTF-8" standalone="yes"?>
<Relationships xmlns="http://schemas.openxmlformats.org/package/2006/relationships"><Relationship Id="rId8" Type="http://schemas.openxmlformats.org/officeDocument/2006/relationships/tags" Target="../tags/tag576.xml"/><Relationship Id="rId13" Type="http://schemas.openxmlformats.org/officeDocument/2006/relationships/image" Target="../media/image1.emf"/><Relationship Id="rId3" Type="http://schemas.openxmlformats.org/officeDocument/2006/relationships/tags" Target="../tags/tag571.xml"/><Relationship Id="rId7" Type="http://schemas.openxmlformats.org/officeDocument/2006/relationships/tags" Target="../tags/tag575.xml"/><Relationship Id="rId12" Type="http://schemas.openxmlformats.org/officeDocument/2006/relationships/oleObject" Target="../embeddings/oleObject12.bin"/><Relationship Id="rId2" Type="http://schemas.openxmlformats.org/officeDocument/2006/relationships/tags" Target="../tags/tag570.xml"/><Relationship Id="rId1" Type="http://schemas.openxmlformats.org/officeDocument/2006/relationships/tags" Target="../tags/tag569.xml"/><Relationship Id="rId6" Type="http://schemas.openxmlformats.org/officeDocument/2006/relationships/tags" Target="../tags/tag574.xml"/><Relationship Id="rId11" Type="http://schemas.openxmlformats.org/officeDocument/2006/relationships/slideMaster" Target="../slideMasters/slideMaster7.xml"/><Relationship Id="rId5" Type="http://schemas.openxmlformats.org/officeDocument/2006/relationships/tags" Target="../tags/tag573.xml"/><Relationship Id="rId10" Type="http://schemas.openxmlformats.org/officeDocument/2006/relationships/tags" Target="../tags/tag578.xml"/><Relationship Id="rId4" Type="http://schemas.openxmlformats.org/officeDocument/2006/relationships/tags" Target="../tags/tag572.xml"/><Relationship Id="rId9" Type="http://schemas.openxmlformats.org/officeDocument/2006/relationships/tags" Target="../tags/tag577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13" Type="http://schemas.openxmlformats.org/officeDocument/2006/relationships/image" Target="../media/image1.emf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12" Type="http://schemas.openxmlformats.org/officeDocument/2006/relationships/oleObject" Target="../embeddings/oleObject12.bin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00.xml"/><Relationship Id="rId10" Type="http://schemas.openxmlformats.org/officeDocument/2006/relationships/tags" Target="../tags/tag105.xml"/><Relationship Id="rId4" Type="http://schemas.openxmlformats.org/officeDocument/2006/relationships/tags" Target="../tags/tag99.xml"/><Relationship Id="rId9" Type="http://schemas.openxmlformats.org/officeDocument/2006/relationships/tags" Target="../tags/tag104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10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tags" Target="../tags/tag111.xml"/><Relationship Id="rId5" Type="http://schemas.openxmlformats.org/officeDocument/2006/relationships/tags" Target="../tags/tag110.xml"/><Relationship Id="rId4" Type="http://schemas.openxmlformats.org/officeDocument/2006/relationships/tags" Target="../tags/tag109.xml"/><Relationship Id="rId9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14.xml"/><Relationship Id="rId7" Type="http://schemas.openxmlformats.org/officeDocument/2006/relationships/image" Target="../media/image2.emf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25.xml"/><Relationship Id="rId3" Type="http://schemas.openxmlformats.org/officeDocument/2006/relationships/tags" Target="../tags/tag120.xml"/><Relationship Id="rId7" Type="http://schemas.openxmlformats.org/officeDocument/2006/relationships/tags" Target="../tags/tag124.xml"/><Relationship Id="rId12" Type="http://schemas.openxmlformats.org/officeDocument/2006/relationships/image" Target="../media/image1.emf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tags" Target="../tags/tag123.xml"/><Relationship Id="rId11" Type="http://schemas.openxmlformats.org/officeDocument/2006/relationships/oleObject" Target="../embeddings/oleObject8.bin"/><Relationship Id="rId5" Type="http://schemas.openxmlformats.org/officeDocument/2006/relationships/tags" Target="../tags/tag12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21.xml"/><Relationship Id="rId9" Type="http://schemas.openxmlformats.org/officeDocument/2006/relationships/tags" Target="../tags/tag126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29.xml"/><Relationship Id="rId7" Type="http://schemas.openxmlformats.org/officeDocument/2006/relationships/oleObject" Target="../embeddings/oleObject3.bin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31.xml"/><Relationship Id="rId4" Type="http://schemas.openxmlformats.org/officeDocument/2006/relationships/tags" Target="../tags/tag130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4.xml"/><Relationship Id="rId7" Type="http://schemas.openxmlformats.org/officeDocument/2006/relationships/tags" Target="../tags/tag138.xml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6" Type="http://schemas.openxmlformats.org/officeDocument/2006/relationships/tags" Target="../tags/tag137.xml"/><Relationship Id="rId5" Type="http://schemas.openxmlformats.org/officeDocument/2006/relationships/tags" Target="../tags/tag136.xml"/><Relationship Id="rId10" Type="http://schemas.openxmlformats.org/officeDocument/2006/relationships/image" Target="../media/image1.emf"/><Relationship Id="rId4" Type="http://schemas.openxmlformats.org/officeDocument/2006/relationships/tags" Target="../tags/tag135.xml"/><Relationship Id="rId9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14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tags" Target="../tags/tag144.xml"/><Relationship Id="rId5" Type="http://schemas.openxmlformats.org/officeDocument/2006/relationships/tags" Target="../tags/tag143.xml"/><Relationship Id="rId4" Type="http://schemas.openxmlformats.org/officeDocument/2006/relationships/tags" Target="../tags/tag142.xml"/><Relationship Id="rId9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8.xml"/><Relationship Id="rId7" Type="http://schemas.openxmlformats.org/officeDocument/2006/relationships/oleObject" Target="../embeddings/oleObject3.bin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68.xml"/><Relationship Id="rId7" Type="http://schemas.openxmlformats.org/officeDocument/2006/relationships/oleObject" Target="../embeddings/oleObject2.bin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70.xml"/><Relationship Id="rId4" Type="http://schemas.openxmlformats.org/officeDocument/2006/relationships/tags" Target="../tags/tag169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173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72.xml"/><Relationship Id="rId1" Type="http://schemas.openxmlformats.org/officeDocument/2006/relationships/tags" Target="../tags/tag171.xml"/><Relationship Id="rId6" Type="http://schemas.openxmlformats.org/officeDocument/2006/relationships/tags" Target="../tags/tag176.xml"/><Relationship Id="rId5" Type="http://schemas.openxmlformats.org/officeDocument/2006/relationships/tags" Target="../tags/tag175.xml"/><Relationship Id="rId4" Type="http://schemas.openxmlformats.org/officeDocument/2006/relationships/tags" Target="../tags/tag174.xml"/><Relationship Id="rId9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7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6" Type="http://schemas.openxmlformats.org/officeDocument/2006/relationships/tags" Target="../tags/tag182.xml"/><Relationship Id="rId5" Type="http://schemas.openxmlformats.org/officeDocument/2006/relationships/tags" Target="../tags/tag181.xml"/><Relationship Id="rId4" Type="http://schemas.openxmlformats.org/officeDocument/2006/relationships/tags" Target="../tags/tag180.xml"/><Relationship Id="rId9" Type="http://schemas.openxmlformats.org/officeDocument/2006/relationships/image" Target="../media/image2.emf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185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6" Type="http://schemas.openxmlformats.org/officeDocument/2006/relationships/tags" Target="../tags/tag188.xml"/><Relationship Id="rId5" Type="http://schemas.openxmlformats.org/officeDocument/2006/relationships/tags" Target="../tags/tag187.xml"/><Relationship Id="rId4" Type="http://schemas.openxmlformats.org/officeDocument/2006/relationships/tags" Target="../tags/tag186.xml"/><Relationship Id="rId9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3.xml"/><Relationship Id="rId7" Type="http://schemas.openxmlformats.org/officeDocument/2006/relationships/oleObject" Target="../embeddings/oleObject4.bin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5.xml"/><Relationship Id="rId4" Type="http://schemas.openxmlformats.org/officeDocument/2006/relationships/tags" Target="../tags/tag34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191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90.xml"/><Relationship Id="rId1" Type="http://schemas.openxmlformats.org/officeDocument/2006/relationships/tags" Target="../tags/tag189.xml"/><Relationship Id="rId6" Type="http://schemas.openxmlformats.org/officeDocument/2006/relationships/tags" Target="../tags/tag194.xml"/><Relationship Id="rId5" Type="http://schemas.openxmlformats.org/officeDocument/2006/relationships/tags" Target="../tags/tag193.xml"/><Relationship Id="rId4" Type="http://schemas.openxmlformats.org/officeDocument/2006/relationships/tags" Target="../tags/tag192.xml"/><Relationship Id="rId9" Type="http://schemas.openxmlformats.org/officeDocument/2006/relationships/image" Target="../media/image2.emf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97.xml"/><Relationship Id="rId7" Type="http://schemas.openxmlformats.org/officeDocument/2006/relationships/tags" Target="../tags/tag201.xml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6" Type="http://schemas.openxmlformats.org/officeDocument/2006/relationships/tags" Target="../tags/tag200.xml"/><Relationship Id="rId5" Type="http://schemas.openxmlformats.org/officeDocument/2006/relationships/tags" Target="../tags/tag199.xml"/><Relationship Id="rId10" Type="http://schemas.openxmlformats.org/officeDocument/2006/relationships/image" Target="../media/image2.emf"/><Relationship Id="rId4" Type="http://schemas.openxmlformats.org/officeDocument/2006/relationships/tags" Target="../tags/tag198.xml"/><Relationship Id="rId9" Type="http://schemas.openxmlformats.org/officeDocument/2006/relationships/oleObject" Target="../embeddings/oleObject7.bin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209.xml"/><Relationship Id="rId3" Type="http://schemas.openxmlformats.org/officeDocument/2006/relationships/tags" Target="../tags/tag204.xml"/><Relationship Id="rId7" Type="http://schemas.openxmlformats.org/officeDocument/2006/relationships/tags" Target="../tags/tag208.xml"/><Relationship Id="rId12" Type="http://schemas.openxmlformats.org/officeDocument/2006/relationships/image" Target="../media/image1.emf"/><Relationship Id="rId2" Type="http://schemas.openxmlformats.org/officeDocument/2006/relationships/tags" Target="../tags/tag203.xml"/><Relationship Id="rId1" Type="http://schemas.openxmlformats.org/officeDocument/2006/relationships/tags" Target="../tags/tag202.xml"/><Relationship Id="rId6" Type="http://schemas.openxmlformats.org/officeDocument/2006/relationships/tags" Target="../tags/tag207.xml"/><Relationship Id="rId11" Type="http://schemas.openxmlformats.org/officeDocument/2006/relationships/oleObject" Target="../embeddings/oleObject8.bin"/><Relationship Id="rId5" Type="http://schemas.openxmlformats.org/officeDocument/2006/relationships/tags" Target="../tags/tag206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05.xml"/><Relationship Id="rId9" Type="http://schemas.openxmlformats.org/officeDocument/2006/relationships/tags" Target="../tags/tag210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tags" Target="../tags/tag218.xml"/><Relationship Id="rId3" Type="http://schemas.openxmlformats.org/officeDocument/2006/relationships/tags" Target="../tags/tag213.xml"/><Relationship Id="rId7" Type="http://schemas.openxmlformats.org/officeDocument/2006/relationships/tags" Target="../tags/tag217.xml"/><Relationship Id="rId12" Type="http://schemas.openxmlformats.org/officeDocument/2006/relationships/image" Target="../media/image1.emf"/><Relationship Id="rId2" Type="http://schemas.openxmlformats.org/officeDocument/2006/relationships/tags" Target="../tags/tag212.xml"/><Relationship Id="rId1" Type="http://schemas.openxmlformats.org/officeDocument/2006/relationships/tags" Target="../tags/tag211.xml"/><Relationship Id="rId6" Type="http://schemas.openxmlformats.org/officeDocument/2006/relationships/tags" Target="../tags/tag216.xml"/><Relationship Id="rId11" Type="http://schemas.openxmlformats.org/officeDocument/2006/relationships/oleObject" Target="../embeddings/oleObject9.bin"/><Relationship Id="rId5" Type="http://schemas.openxmlformats.org/officeDocument/2006/relationships/tags" Target="../tags/tag215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14.xml"/><Relationship Id="rId9" Type="http://schemas.openxmlformats.org/officeDocument/2006/relationships/tags" Target="../tags/tag219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227.xml"/><Relationship Id="rId13" Type="http://schemas.openxmlformats.org/officeDocument/2006/relationships/oleObject" Target="../embeddings/oleObject10.bin"/><Relationship Id="rId3" Type="http://schemas.openxmlformats.org/officeDocument/2006/relationships/tags" Target="../tags/tag222.xml"/><Relationship Id="rId7" Type="http://schemas.openxmlformats.org/officeDocument/2006/relationships/tags" Target="../tags/tag226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221.xml"/><Relationship Id="rId1" Type="http://schemas.openxmlformats.org/officeDocument/2006/relationships/tags" Target="../tags/tag220.xml"/><Relationship Id="rId6" Type="http://schemas.openxmlformats.org/officeDocument/2006/relationships/tags" Target="../tags/tag225.xml"/><Relationship Id="rId11" Type="http://schemas.openxmlformats.org/officeDocument/2006/relationships/tags" Target="../tags/tag230.xml"/><Relationship Id="rId5" Type="http://schemas.openxmlformats.org/officeDocument/2006/relationships/tags" Target="../tags/tag224.xml"/><Relationship Id="rId10" Type="http://schemas.openxmlformats.org/officeDocument/2006/relationships/tags" Target="../tags/tag229.xml"/><Relationship Id="rId4" Type="http://schemas.openxmlformats.org/officeDocument/2006/relationships/tags" Target="../tags/tag223.xml"/><Relationship Id="rId9" Type="http://schemas.openxmlformats.org/officeDocument/2006/relationships/tags" Target="../tags/tag228.xml"/><Relationship Id="rId1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238.xml"/><Relationship Id="rId13" Type="http://schemas.openxmlformats.org/officeDocument/2006/relationships/oleObject" Target="../embeddings/oleObject11.bin"/><Relationship Id="rId3" Type="http://schemas.openxmlformats.org/officeDocument/2006/relationships/tags" Target="../tags/tag233.xml"/><Relationship Id="rId7" Type="http://schemas.openxmlformats.org/officeDocument/2006/relationships/tags" Target="../tags/tag237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232.xml"/><Relationship Id="rId1" Type="http://schemas.openxmlformats.org/officeDocument/2006/relationships/tags" Target="../tags/tag231.xml"/><Relationship Id="rId6" Type="http://schemas.openxmlformats.org/officeDocument/2006/relationships/tags" Target="../tags/tag236.xml"/><Relationship Id="rId11" Type="http://schemas.openxmlformats.org/officeDocument/2006/relationships/tags" Target="../tags/tag241.xml"/><Relationship Id="rId5" Type="http://schemas.openxmlformats.org/officeDocument/2006/relationships/tags" Target="../tags/tag235.xml"/><Relationship Id="rId10" Type="http://schemas.openxmlformats.org/officeDocument/2006/relationships/tags" Target="../tags/tag240.xml"/><Relationship Id="rId4" Type="http://schemas.openxmlformats.org/officeDocument/2006/relationships/tags" Target="../tags/tag234.xml"/><Relationship Id="rId9" Type="http://schemas.openxmlformats.org/officeDocument/2006/relationships/tags" Target="../tags/tag239.xml"/><Relationship Id="rId14" Type="http://schemas.openxmlformats.org/officeDocument/2006/relationships/image" Target="../media/image3.emf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249.xml"/><Relationship Id="rId13" Type="http://schemas.openxmlformats.org/officeDocument/2006/relationships/image" Target="../media/image1.emf"/><Relationship Id="rId3" Type="http://schemas.openxmlformats.org/officeDocument/2006/relationships/tags" Target="../tags/tag244.xml"/><Relationship Id="rId7" Type="http://schemas.openxmlformats.org/officeDocument/2006/relationships/tags" Target="../tags/tag248.xml"/><Relationship Id="rId12" Type="http://schemas.openxmlformats.org/officeDocument/2006/relationships/oleObject" Target="../embeddings/oleObject12.bin"/><Relationship Id="rId2" Type="http://schemas.openxmlformats.org/officeDocument/2006/relationships/tags" Target="../tags/tag243.xml"/><Relationship Id="rId1" Type="http://schemas.openxmlformats.org/officeDocument/2006/relationships/tags" Target="../tags/tag242.xml"/><Relationship Id="rId6" Type="http://schemas.openxmlformats.org/officeDocument/2006/relationships/tags" Target="../tags/tag247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246.xml"/><Relationship Id="rId10" Type="http://schemas.openxmlformats.org/officeDocument/2006/relationships/tags" Target="../tags/tag251.xml"/><Relationship Id="rId4" Type="http://schemas.openxmlformats.org/officeDocument/2006/relationships/tags" Target="../tags/tag245.xml"/><Relationship Id="rId9" Type="http://schemas.openxmlformats.org/officeDocument/2006/relationships/tags" Target="../tags/tag250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254.xml"/><Relationship Id="rId7" Type="http://schemas.openxmlformats.org/officeDocument/2006/relationships/image" Target="../media/image1.emf"/><Relationship Id="rId2" Type="http://schemas.openxmlformats.org/officeDocument/2006/relationships/tags" Target="../tags/tag253.xml"/><Relationship Id="rId1" Type="http://schemas.openxmlformats.org/officeDocument/2006/relationships/tags" Target="../tags/tag252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5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258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tags" Target="../tags/tag261.xml"/><Relationship Id="rId5" Type="http://schemas.openxmlformats.org/officeDocument/2006/relationships/tags" Target="../tags/tag260.xml"/><Relationship Id="rId4" Type="http://schemas.openxmlformats.org/officeDocument/2006/relationships/tags" Target="../tags/tag259.xml"/><Relationship Id="rId9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3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5" Type="http://schemas.openxmlformats.org/officeDocument/2006/relationships/tags" Target="../tags/tag40.xml"/><Relationship Id="rId4" Type="http://schemas.openxmlformats.org/officeDocument/2006/relationships/tags" Target="../tags/tag39.xml"/><Relationship Id="rId9" Type="http://schemas.openxmlformats.org/officeDocument/2006/relationships/image" Target="../media/image2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1.xml"/><Relationship Id="rId4" Type="http://schemas.openxmlformats.org/officeDocument/2006/relationships/image" Target="../media/image7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2.xml"/><Relationship Id="rId4" Type="http://schemas.openxmlformats.org/officeDocument/2006/relationships/image" Target="../media/image8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3.xml"/><Relationship Id="rId4" Type="http://schemas.openxmlformats.org/officeDocument/2006/relationships/image" Target="../media/image9.emf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4.xml"/><Relationship Id="rId4" Type="http://schemas.openxmlformats.org/officeDocument/2006/relationships/image" Target="../media/image10.emf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89.xml"/><Relationship Id="rId7" Type="http://schemas.openxmlformats.org/officeDocument/2006/relationships/oleObject" Target="../embeddings/oleObject2.bin"/><Relationship Id="rId2" Type="http://schemas.openxmlformats.org/officeDocument/2006/relationships/tags" Target="../tags/tag288.xml"/><Relationship Id="rId1" Type="http://schemas.openxmlformats.org/officeDocument/2006/relationships/tags" Target="../tags/tag287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291.xml"/><Relationship Id="rId10" Type="http://schemas.openxmlformats.org/officeDocument/2006/relationships/image" Target="../media/image13.png"/><Relationship Id="rId4" Type="http://schemas.openxmlformats.org/officeDocument/2006/relationships/tags" Target="../tags/tag290.xml"/><Relationship Id="rId9" Type="http://schemas.openxmlformats.org/officeDocument/2006/relationships/image" Target="../media/image12.png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4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5" Type="http://schemas.openxmlformats.org/officeDocument/2006/relationships/tags" Target="../tags/tag46.xml"/><Relationship Id="rId4" Type="http://schemas.openxmlformats.org/officeDocument/2006/relationships/tags" Target="../tags/tag45.xml"/><Relationship Id="rId9" Type="http://schemas.openxmlformats.org/officeDocument/2006/relationships/image" Target="../media/image2.emf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294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293.xml"/><Relationship Id="rId1" Type="http://schemas.openxmlformats.org/officeDocument/2006/relationships/tags" Target="../tags/tag292.xml"/><Relationship Id="rId6" Type="http://schemas.openxmlformats.org/officeDocument/2006/relationships/tags" Target="../tags/tag297.xml"/><Relationship Id="rId5" Type="http://schemas.openxmlformats.org/officeDocument/2006/relationships/tags" Target="../tags/tag296.xml"/><Relationship Id="rId4" Type="http://schemas.openxmlformats.org/officeDocument/2006/relationships/tags" Target="../tags/tag295.xml"/><Relationship Id="rId9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300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299.xml"/><Relationship Id="rId1" Type="http://schemas.openxmlformats.org/officeDocument/2006/relationships/tags" Target="../tags/tag298.xml"/><Relationship Id="rId6" Type="http://schemas.openxmlformats.org/officeDocument/2006/relationships/tags" Target="../tags/tag303.xml"/><Relationship Id="rId5" Type="http://schemas.openxmlformats.org/officeDocument/2006/relationships/tags" Target="../tags/tag302.xml"/><Relationship Id="rId4" Type="http://schemas.openxmlformats.org/officeDocument/2006/relationships/tags" Target="../tags/tag301.xml"/><Relationship Id="rId9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tags" Target="../tags/tag311.xml"/><Relationship Id="rId3" Type="http://schemas.openxmlformats.org/officeDocument/2006/relationships/tags" Target="../tags/tag306.xml"/><Relationship Id="rId7" Type="http://schemas.openxmlformats.org/officeDocument/2006/relationships/tags" Target="../tags/tag310.xml"/><Relationship Id="rId12" Type="http://schemas.openxmlformats.org/officeDocument/2006/relationships/image" Target="../media/image1.emf"/><Relationship Id="rId2" Type="http://schemas.openxmlformats.org/officeDocument/2006/relationships/tags" Target="../tags/tag305.xml"/><Relationship Id="rId1" Type="http://schemas.openxmlformats.org/officeDocument/2006/relationships/tags" Target="../tags/tag304.xml"/><Relationship Id="rId6" Type="http://schemas.openxmlformats.org/officeDocument/2006/relationships/tags" Target="../tags/tag309.xml"/><Relationship Id="rId11" Type="http://schemas.openxmlformats.org/officeDocument/2006/relationships/oleObject" Target="../embeddings/oleObject8.bin"/><Relationship Id="rId5" Type="http://schemas.openxmlformats.org/officeDocument/2006/relationships/tags" Target="../tags/tag308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307.xml"/><Relationship Id="rId9" Type="http://schemas.openxmlformats.org/officeDocument/2006/relationships/tags" Target="../tags/tag312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tags" Target="../tags/tag320.xml"/><Relationship Id="rId3" Type="http://schemas.openxmlformats.org/officeDocument/2006/relationships/tags" Target="../tags/tag315.xml"/><Relationship Id="rId7" Type="http://schemas.openxmlformats.org/officeDocument/2006/relationships/tags" Target="../tags/tag319.xml"/><Relationship Id="rId12" Type="http://schemas.openxmlformats.org/officeDocument/2006/relationships/image" Target="../media/image1.emf"/><Relationship Id="rId2" Type="http://schemas.openxmlformats.org/officeDocument/2006/relationships/tags" Target="../tags/tag314.xml"/><Relationship Id="rId1" Type="http://schemas.openxmlformats.org/officeDocument/2006/relationships/tags" Target="../tags/tag313.xml"/><Relationship Id="rId6" Type="http://schemas.openxmlformats.org/officeDocument/2006/relationships/tags" Target="../tags/tag318.xml"/><Relationship Id="rId11" Type="http://schemas.openxmlformats.org/officeDocument/2006/relationships/oleObject" Target="../embeddings/oleObject8.bin"/><Relationship Id="rId5" Type="http://schemas.openxmlformats.org/officeDocument/2006/relationships/tags" Target="../tags/tag317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316.xml"/><Relationship Id="rId9" Type="http://schemas.openxmlformats.org/officeDocument/2006/relationships/tags" Target="../tags/tag321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tags" Target="../tags/tag329.xml"/><Relationship Id="rId3" Type="http://schemas.openxmlformats.org/officeDocument/2006/relationships/tags" Target="../tags/tag324.xml"/><Relationship Id="rId7" Type="http://schemas.openxmlformats.org/officeDocument/2006/relationships/tags" Target="../tags/tag328.xml"/><Relationship Id="rId12" Type="http://schemas.openxmlformats.org/officeDocument/2006/relationships/image" Target="../media/image1.emf"/><Relationship Id="rId2" Type="http://schemas.openxmlformats.org/officeDocument/2006/relationships/tags" Target="../tags/tag323.xml"/><Relationship Id="rId1" Type="http://schemas.openxmlformats.org/officeDocument/2006/relationships/tags" Target="../tags/tag322.xml"/><Relationship Id="rId6" Type="http://schemas.openxmlformats.org/officeDocument/2006/relationships/tags" Target="../tags/tag327.xml"/><Relationship Id="rId11" Type="http://schemas.openxmlformats.org/officeDocument/2006/relationships/oleObject" Target="../embeddings/oleObject9.bin"/><Relationship Id="rId5" Type="http://schemas.openxmlformats.org/officeDocument/2006/relationships/tags" Target="../tags/tag326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325.xml"/><Relationship Id="rId9" Type="http://schemas.openxmlformats.org/officeDocument/2006/relationships/tags" Target="../tags/tag330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tags" Target="../tags/tag338.xml"/><Relationship Id="rId13" Type="http://schemas.openxmlformats.org/officeDocument/2006/relationships/oleObject" Target="../embeddings/oleObject10.bin"/><Relationship Id="rId3" Type="http://schemas.openxmlformats.org/officeDocument/2006/relationships/tags" Target="../tags/tag333.xml"/><Relationship Id="rId7" Type="http://schemas.openxmlformats.org/officeDocument/2006/relationships/tags" Target="../tags/tag337.xml"/><Relationship Id="rId12" Type="http://schemas.openxmlformats.org/officeDocument/2006/relationships/slideMaster" Target="../slideMasters/slideMaster4.xml"/><Relationship Id="rId2" Type="http://schemas.openxmlformats.org/officeDocument/2006/relationships/tags" Target="../tags/tag332.xml"/><Relationship Id="rId1" Type="http://schemas.openxmlformats.org/officeDocument/2006/relationships/tags" Target="../tags/tag331.xml"/><Relationship Id="rId6" Type="http://schemas.openxmlformats.org/officeDocument/2006/relationships/tags" Target="../tags/tag336.xml"/><Relationship Id="rId11" Type="http://schemas.openxmlformats.org/officeDocument/2006/relationships/tags" Target="../tags/tag341.xml"/><Relationship Id="rId5" Type="http://schemas.openxmlformats.org/officeDocument/2006/relationships/tags" Target="../tags/tag335.xml"/><Relationship Id="rId10" Type="http://schemas.openxmlformats.org/officeDocument/2006/relationships/tags" Target="../tags/tag340.xml"/><Relationship Id="rId4" Type="http://schemas.openxmlformats.org/officeDocument/2006/relationships/tags" Target="../tags/tag334.xml"/><Relationship Id="rId9" Type="http://schemas.openxmlformats.org/officeDocument/2006/relationships/tags" Target="../tags/tag339.xml"/><Relationship Id="rId1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tags" Target="../tags/tag349.xml"/><Relationship Id="rId13" Type="http://schemas.openxmlformats.org/officeDocument/2006/relationships/oleObject" Target="../embeddings/oleObject11.bin"/><Relationship Id="rId3" Type="http://schemas.openxmlformats.org/officeDocument/2006/relationships/tags" Target="../tags/tag344.xml"/><Relationship Id="rId7" Type="http://schemas.openxmlformats.org/officeDocument/2006/relationships/tags" Target="../tags/tag348.xml"/><Relationship Id="rId12" Type="http://schemas.openxmlformats.org/officeDocument/2006/relationships/slideMaster" Target="../slideMasters/slideMaster4.xml"/><Relationship Id="rId2" Type="http://schemas.openxmlformats.org/officeDocument/2006/relationships/tags" Target="../tags/tag343.xml"/><Relationship Id="rId1" Type="http://schemas.openxmlformats.org/officeDocument/2006/relationships/tags" Target="../tags/tag342.xml"/><Relationship Id="rId6" Type="http://schemas.openxmlformats.org/officeDocument/2006/relationships/tags" Target="../tags/tag347.xml"/><Relationship Id="rId11" Type="http://schemas.openxmlformats.org/officeDocument/2006/relationships/tags" Target="../tags/tag352.xml"/><Relationship Id="rId5" Type="http://schemas.openxmlformats.org/officeDocument/2006/relationships/tags" Target="../tags/tag346.xml"/><Relationship Id="rId10" Type="http://schemas.openxmlformats.org/officeDocument/2006/relationships/tags" Target="../tags/tag351.xml"/><Relationship Id="rId4" Type="http://schemas.openxmlformats.org/officeDocument/2006/relationships/tags" Target="../tags/tag345.xml"/><Relationship Id="rId9" Type="http://schemas.openxmlformats.org/officeDocument/2006/relationships/tags" Target="../tags/tag350.xml"/><Relationship Id="rId14" Type="http://schemas.openxmlformats.org/officeDocument/2006/relationships/image" Target="../media/image3.emf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tags" Target="../tags/tag360.xml"/><Relationship Id="rId13" Type="http://schemas.openxmlformats.org/officeDocument/2006/relationships/image" Target="../media/image1.emf"/><Relationship Id="rId3" Type="http://schemas.openxmlformats.org/officeDocument/2006/relationships/tags" Target="../tags/tag355.xml"/><Relationship Id="rId7" Type="http://schemas.openxmlformats.org/officeDocument/2006/relationships/tags" Target="../tags/tag359.xml"/><Relationship Id="rId12" Type="http://schemas.openxmlformats.org/officeDocument/2006/relationships/oleObject" Target="../embeddings/oleObject12.bin"/><Relationship Id="rId2" Type="http://schemas.openxmlformats.org/officeDocument/2006/relationships/tags" Target="../tags/tag354.xml"/><Relationship Id="rId1" Type="http://schemas.openxmlformats.org/officeDocument/2006/relationships/tags" Target="../tags/tag353.xml"/><Relationship Id="rId6" Type="http://schemas.openxmlformats.org/officeDocument/2006/relationships/tags" Target="../tags/tag358.xml"/><Relationship Id="rId11" Type="http://schemas.openxmlformats.org/officeDocument/2006/relationships/slideMaster" Target="../slideMasters/slideMaster4.xml"/><Relationship Id="rId5" Type="http://schemas.openxmlformats.org/officeDocument/2006/relationships/tags" Target="../tags/tag357.xml"/><Relationship Id="rId10" Type="http://schemas.openxmlformats.org/officeDocument/2006/relationships/tags" Target="../tags/tag362.xml"/><Relationship Id="rId4" Type="http://schemas.openxmlformats.org/officeDocument/2006/relationships/tags" Target="../tags/tag356.xml"/><Relationship Id="rId9" Type="http://schemas.openxmlformats.org/officeDocument/2006/relationships/tags" Target="../tags/tag36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85.xml"/><Relationship Id="rId7" Type="http://schemas.openxmlformats.org/officeDocument/2006/relationships/oleObject" Target="../embeddings/oleObject2.bin"/><Relationship Id="rId2" Type="http://schemas.openxmlformats.org/officeDocument/2006/relationships/tags" Target="../tags/tag384.xml"/><Relationship Id="rId1" Type="http://schemas.openxmlformats.org/officeDocument/2006/relationships/tags" Target="../tags/tag383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387.xml"/><Relationship Id="rId4" Type="http://schemas.openxmlformats.org/officeDocument/2006/relationships/tags" Target="../tags/tag386.xml"/><Relationship Id="rId9" Type="http://schemas.openxmlformats.org/officeDocument/2006/relationships/image" Target="../media/image16.pn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5" Type="http://schemas.openxmlformats.org/officeDocument/2006/relationships/tags" Target="../tags/tag52.xml"/><Relationship Id="rId10" Type="http://schemas.openxmlformats.org/officeDocument/2006/relationships/image" Target="../media/image2.emf"/><Relationship Id="rId4" Type="http://schemas.openxmlformats.org/officeDocument/2006/relationships/tags" Target="../tags/tag51.xml"/><Relationship Id="rId9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390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389.xml"/><Relationship Id="rId1" Type="http://schemas.openxmlformats.org/officeDocument/2006/relationships/tags" Target="../tags/tag388.xml"/><Relationship Id="rId6" Type="http://schemas.openxmlformats.org/officeDocument/2006/relationships/tags" Target="../tags/tag393.xml"/><Relationship Id="rId5" Type="http://schemas.openxmlformats.org/officeDocument/2006/relationships/tags" Target="../tags/tag392.xml"/><Relationship Id="rId4" Type="http://schemas.openxmlformats.org/officeDocument/2006/relationships/tags" Target="../tags/tag391.xml"/><Relationship Id="rId9" Type="http://schemas.openxmlformats.org/officeDocument/2006/relationships/image" Target="../media/image1.emf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396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395.xml"/><Relationship Id="rId1" Type="http://schemas.openxmlformats.org/officeDocument/2006/relationships/tags" Target="../tags/tag394.xml"/><Relationship Id="rId6" Type="http://schemas.openxmlformats.org/officeDocument/2006/relationships/tags" Target="../tags/tag399.xml"/><Relationship Id="rId5" Type="http://schemas.openxmlformats.org/officeDocument/2006/relationships/tags" Target="../tags/tag398.xml"/><Relationship Id="rId4" Type="http://schemas.openxmlformats.org/officeDocument/2006/relationships/tags" Target="../tags/tag397.xml"/><Relationship Id="rId9" Type="http://schemas.openxmlformats.org/officeDocument/2006/relationships/image" Target="../media/image2.emf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402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401.xml"/><Relationship Id="rId1" Type="http://schemas.openxmlformats.org/officeDocument/2006/relationships/tags" Target="../tags/tag400.xml"/><Relationship Id="rId6" Type="http://schemas.openxmlformats.org/officeDocument/2006/relationships/tags" Target="../tags/tag405.xml"/><Relationship Id="rId5" Type="http://schemas.openxmlformats.org/officeDocument/2006/relationships/tags" Target="../tags/tag404.xml"/><Relationship Id="rId4" Type="http://schemas.openxmlformats.org/officeDocument/2006/relationships/tags" Target="../tags/tag403.xml"/><Relationship Id="rId9" Type="http://schemas.openxmlformats.org/officeDocument/2006/relationships/image" Target="../media/image2.emf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408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407.xml"/><Relationship Id="rId1" Type="http://schemas.openxmlformats.org/officeDocument/2006/relationships/tags" Target="../tags/tag406.xml"/><Relationship Id="rId6" Type="http://schemas.openxmlformats.org/officeDocument/2006/relationships/tags" Target="../tags/tag411.xml"/><Relationship Id="rId5" Type="http://schemas.openxmlformats.org/officeDocument/2006/relationships/tags" Target="../tags/tag410.xml"/><Relationship Id="rId4" Type="http://schemas.openxmlformats.org/officeDocument/2006/relationships/tags" Target="../tags/tag409.xml"/><Relationship Id="rId9" Type="http://schemas.openxmlformats.org/officeDocument/2006/relationships/image" Target="../media/image2.emf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414.xml"/><Relationship Id="rId7" Type="http://schemas.openxmlformats.org/officeDocument/2006/relationships/tags" Target="../tags/tag418.xml"/><Relationship Id="rId2" Type="http://schemas.openxmlformats.org/officeDocument/2006/relationships/tags" Target="../tags/tag413.xml"/><Relationship Id="rId1" Type="http://schemas.openxmlformats.org/officeDocument/2006/relationships/tags" Target="../tags/tag412.xml"/><Relationship Id="rId6" Type="http://schemas.openxmlformats.org/officeDocument/2006/relationships/tags" Target="../tags/tag417.xml"/><Relationship Id="rId5" Type="http://schemas.openxmlformats.org/officeDocument/2006/relationships/tags" Target="../tags/tag416.xml"/><Relationship Id="rId10" Type="http://schemas.openxmlformats.org/officeDocument/2006/relationships/image" Target="../media/image2.emf"/><Relationship Id="rId4" Type="http://schemas.openxmlformats.org/officeDocument/2006/relationships/tags" Target="../tags/tag415.xml"/><Relationship Id="rId9" Type="http://schemas.openxmlformats.org/officeDocument/2006/relationships/oleObject" Target="../embeddings/oleObject7.bin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tags" Target="../tags/tag426.xml"/><Relationship Id="rId3" Type="http://schemas.openxmlformats.org/officeDocument/2006/relationships/tags" Target="../tags/tag421.xml"/><Relationship Id="rId7" Type="http://schemas.openxmlformats.org/officeDocument/2006/relationships/tags" Target="../tags/tag425.xml"/><Relationship Id="rId12" Type="http://schemas.openxmlformats.org/officeDocument/2006/relationships/image" Target="../media/image1.emf"/><Relationship Id="rId2" Type="http://schemas.openxmlformats.org/officeDocument/2006/relationships/tags" Target="../tags/tag420.xml"/><Relationship Id="rId1" Type="http://schemas.openxmlformats.org/officeDocument/2006/relationships/tags" Target="../tags/tag419.xml"/><Relationship Id="rId6" Type="http://schemas.openxmlformats.org/officeDocument/2006/relationships/tags" Target="../tags/tag424.xml"/><Relationship Id="rId11" Type="http://schemas.openxmlformats.org/officeDocument/2006/relationships/oleObject" Target="../embeddings/oleObject8.bin"/><Relationship Id="rId5" Type="http://schemas.openxmlformats.org/officeDocument/2006/relationships/tags" Target="../tags/tag423.xml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422.xml"/><Relationship Id="rId9" Type="http://schemas.openxmlformats.org/officeDocument/2006/relationships/tags" Target="../tags/tag427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tags" Target="../tags/tag435.xml"/><Relationship Id="rId13" Type="http://schemas.openxmlformats.org/officeDocument/2006/relationships/image" Target="../media/image1.emf"/><Relationship Id="rId3" Type="http://schemas.openxmlformats.org/officeDocument/2006/relationships/tags" Target="../tags/tag430.xml"/><Relationship Id="rId7" Type="http://schemas.openxmlformats.org/officeDocument/2006/relationships/tags" Target="../tags/tag434.xml"/><Relationship Id="rId12" Type="http://schemas.openxmlformats.org/officeDocument/2006/relationships/oleObject" Target="../embeddings/oleObject9.bin"/><Relationship Id="rId2" Type="http://schemas.openxmlformats.org/officeDocument/2006/relationships/tags" Target="../tags/tag429.xml"/><Relationship Id="rId1" Type="http://schemas.openxmlformats.org/officeDocument/2006/relationships/tags" Target="../tags/tag428.xml"/><Relationship Id="rId6" Type="http://schemas.openxmlformats.org/officeDocument/2006/relationships/tags" Target="../tags/tag433.xml"/><Relationship Id="rId11" Type="http://schemas.openxmlformats.org/officeDocument/2006/relationships/slideMaster" Target="../slideMasters/slideMaster5.xml"/><Relationship Id="rId5" Type="http://schemas.openxmlformats.org/officeDocument/2006/relationships/tags" Target="../tags/tag432.xml"/><Relationship Id="rId10" Type="http://schemas.openxmlformats.org/officeDocument/2006/relationships/tags" Target="../tags/tag437.xml"/><Relationship Id="rId4" Type="http://schemas.openxmlformats.org/officeDocument/2006/relationships/tags" Target="../tags/tag431.xml"/><Relationship Id="rId9" Type="http://schemas.openxmlformats.org/officeDocument/2006/relationships/tags" Target="../tags/tag436.xml"/><Relationship Id="rId14" Type="http://schemas.openxmlformats.org/officeDocument/2006/relationships/image" Target="../media/image15.png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tags" Target="../tags/tag445.xml"/><Relationship Id="rId13" Type="http://schemas.openxmlformats.org/officeDocument/2006/relationships/oleObject" Target="../embeddings/oleObject10.bin"/><Relationship Id="rId3" Type="http://schemas.openxmlformats.org/officeDocument/2006/relationships/tags" Target="../tags/tag440.xml"/><Relationship Id="rId7" Type="http://schemas.openxmlformats.org/officeDocument/2006/relationships/tags" Target="../tags/tag444.xml"/><Relationship Id="rId12" Type="http://schemas.openxmlformats.org/officeDocument/2006/relationships/slideMaster" Target="../slideMasters/slideMaster5.xml"/><Relationship Id="rId2" Type="http://schemas.openxmlformats.org/officeDocument/2006/relationships/tags" Target="../tags/tag439.xml"/><Relationship Id="rId1" Type="http://schemas.openxmlformats.org/officeDocument/2006/relationships/tags" Target="../tags/tag438.xml"/><Relationship Id="rId6" Type="http://schemas.openxmlformats.org/officeDocument/2006/relationships/tags" Target="../tags/tag443.xml"/><Relationship Id="rId11" Type="http://schemas.openxmlformats.org/officeDocument/2006/relationships/tags" Target="../tags/tag448.xml"/><Relationship Id="rId5" Type="http://schemas.openxmlformats.org/officeDocument/2006/relationships/tags" Target="../tags/tag442.xml"/><Relationship Id="rId15" Type="http://schemas.openxmlformats.org/officeDocument/2006/relationships/image" Target="../media/image15.png"/><Relationship Id="rId10" Type="http://schemas.openxmlformats.org/officeDocument/2006/relationships/tags" Target="../tags/tag447.xml"/><Relationship Id="rId4" Type="http://schemas.openxmlformats.org/officeDocument/2006/relationships/tags" Target="../tags/tag441.xml"/><Relationship Id="rId9" Type="http://schemas.openxmlformats.org/officeDocument/2006/relationships/tags" Target="../tags/tag446.xml"/><Relationship Id="rId14" Type="http://schemas.openxmlformats.org/officeDocument/2006/relationships/image" Target="../media/image1.emf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tags" Target="../tags/tag456.xml"/><Relationship Id="rId13" Type="http://schemas.openxmlformats.org/officeDocument/2006/relationships/oleObject" Target="../embeddings/oleObject11.bin"/><Relationship Id="rId3" Type="http://schemas.openxmlformats.org/officeDocument/2006/relationships/tags" Target="../tags/tag451.xml"/><Relationship Id="rId7" Type="http://schemas.openxmlformats.org/officeDocument/2006/relationships/tags" Target="../tags/tag455.xml"/><Relationship Id="rId12" Type="http://schemas.openxmlformats.org/officeDocument/2006/relationships/slideMaster" Target="../slideMasters/slideMaster5.xml"/><Relationship Id="rId2" Type="http://schemas.openxmlformats.org/officeDocument/2006/relationships/tags" Target="../tags/tag450.xml"/><Relationship Id="rId1" Type="http://schemas.openxmlformats.org/officeDocument/2006/relationships/tags" Target="../tags/tag449.xml"/><Relationship Id="rId6" Type="http://schemas.openxmlformats.org/officeDocument/2006/relationships/tags" Target="../tags/tag454.xml"/><Relationship Id="rId11" Type="http://schemas.openxmlformats.org/officeDocument/2006/relationships/tags" Target="../tags/tag459.xml"/><Relationship Id="rId5" Type="http://schemas.openxmlformats.org/officeDocument/2006/relationships/tags" Target="../tags/tag453.xml"/><Relationship Id="rId15" Type="http://schemas.openxmlformats.org/officeDocument/2006/relationships/image" Target="../media/image15.png"/><Relationship Id="rId10" Type="http://schemas.openxmlformats.org/officeDocument/2006/relationships/tags" Target="../tags/tag458.xml"/><Relationship Id="rId4" Type="http://schemas.openxmlformats.org/officeDocument/2006/relationships/tags" Target="../tags/tag452.xml"/><Relationship Id="rId9" Type="http://schemas.openxmlformats.org/officeDocument/2006/relationships/tags" Target="../tags/tag457.xml"/><Relationship Id="rId14" Type="http://schemas.openxmlformats.org/officeDocument/2006/relationships/image" Target="../media/image3.emf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tags" Target="../tags/tag467.xml"/><Relationship Id="rId13" Type="http://schemas.openxmlformats.org/officeDocument/2006/relationships/image" Target="../media/image1.emf"/><Relationship Id="rId3" Type="http://schemas.openxmlformats.org/officeDocument/2006/relationships/tags" Target="../tags/tag462.xml"/><Relationship Id="rId7" Type="http://schemas.openxmlformats.org/officeDocument/2006/relationships/tags" Target="../tags/tag466.xml"/><Relationship Id="rId12" Type="http://schemas.openxmlformats.org/officeDocument/2006/relationships/oleObject" Target="../embeddings/oleObject12.bin"/><Relationship Id="rId2" Type="http://schemas.openxmlformats.org/officeDocument/2006/relationships/tags" Target="../tags/tag461.xml"/><Relationship Id="rId1" Type="http://schemas.openxmlformats.org/officeDocument/2006/relationships/tags" Target="../tags/tag460.xml"/><Relationship Id="rId6" Type="http://schemas.openxmlformats.org/officeDocument/2006/relationships/tags" Target="../tags/tag465.xml"/><Relationship Id="rId11" Type="http://schemas.openxmlformats.org/officeDocument/2006/relationships/slideMaster" Target="../slideMasters/slideMaster5.xml"/><Relationship Id="rId5" Type="http://schemas.openxmlformats.org/officeDocument/2006/relationships/tags" Target="../tags/tag464.xml"/><Relationship Id="rId10" Type="http://schemas.openxmlformats.org/officeDocument/2006/relationships/tags" Target="../tags/tag469.xml"/><Relationship Id="rId4" Type="http://schemas.openxmlformats.org/officeDocument/2006/relationships/tags" Target="../tags/tag463.xml"/><Relationship Id="rId9" Type="http://schemas.openxmlformats.org/officeDocument/2006/relationships/tags" Target="../tags/tag468.xml"/><Relationship Id="rId14" Type="http://schemas.openxmlformats.org/officeDocument/2006/relationships/image" Target="../media/image15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12" Type="http://schemas.openxmlformats.org/officeDocument/2006/relationships/image" Target="../media/image1.emf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oleObject" Target="../embeddings/oleObject8.bin"/><Relationship Id="rId5" Type="http://schemas.openxmlformats.org/officeDocument/2006/relationships/tags" Target="../tags/tag5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58.xml"/><Relationship Id="rId9" Type="http://schemas.openxmlformats.org/officeDocument/2006/relationships/tags" Target="../tags/tag63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472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471.xml"/><Relationship Id="rId1" Type="http://schemas.openxmlformats.org/officeDocument/2006/relationships/tags" Target="../tags/tag470.xml"/><Relationship Id="rId6" Type="http://schemas.openxmlformats.org/officeDocument/2006/relationships/tags" Target="../tags/tag475.xml"/><Relationship Id="rId5" Type="http://schemas.openxmlformats.org/officeDocument/2006/relationships/tags" Target="../tags/tag474.xml"/><Relationship Id="rId10" Type="http://schemas.openxmlformats.org/officeDocument/2006/relationships/image" Target="../media/image15.png"/><Relationship Id="rId4" Type="http://schemas.openxmlformats.org/officeDocument/2006/relationships/tags" Target="../tags/tag473.xml"/><Relationship Id="rId9" Type="http://schemas.openxmlformats.org/officeDocument/2006/relationships/image" Target="../media/image2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77.xml"/><Relationship Id="rId1" Type="http://schemas.openxmlformats.org/officeDocument/2006/relationships/tags" Target="../tags/tag476.xml"/><Relationship Id="rId6" Type="http://schemas.openxmlformats.org/officeDocument/2006/relationships/image" Target="../media/image1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79.xml"/><Relationship Id="rId1" Type="http://schemas.openxmlformats.org/officeDocument/2006/relationships/tags" Target="../tags/tag47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482.xml"/><Relationship Id="rId7" Type="http://schemas.openxmlformats.org/officeDocument/2006/relationships/tags" Target="../tags/tag486.xml"/><Relationship Id="rId2" Type="http://schemas.openxmlformats.org/officeDocument/2006/relationships/tags" Target="../tags/tag481.xml"/><Relationship Id="rId1" Type="http://schemas.openxmlformats.org/officeDocument/2006/relationships/tags" Target="../tags/tag480.xml"/><Relationship Id="rId6" Type="http://schemas.openxmlformats.org/officeDocument/2006/relationships/tags" Target="../tags/tag485.xml"/><Relationship Id="rId5" Type="http://schemas.openxmlformats.org/officeDocument/2006/relationships/tags" Target="../tags/tag484.xml"/><Relationship Id="rId10" Type="http://schemas.openxmlformats.org/officeDocument/2006/relationships/image" Target="../media/image1.emf"/><Relationship Id="rId4" Type="http://schemas.openxmlformats.org/officeDocument/2006/relationships/tags" Target="../tags/tag483.xml"/><Relationship Id="rId9" Type="http://schemas.openxmlformats.org/officeDocument/2006/relationships/oleObject" Target="../embeddings/oleObject3.bin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89.xml"/><Relationship Id="rId7" Type="http://schemas.openxmlformats.org/officeDocument/2006/relationships/oleObject" Target="../embeddings/oleObject3.bin"/><Relationship Id="rId2" Type="http://schemas.openxmlformats.org/officeDocument/2006/relationships/tags" Target="../tags/tag488.xml"/><Relationship Id="rId1" Type="http://schemas.openxmlformats.org/officeDocument/2006/relationships/tags" Target="../tags/tag487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491.xml"/><Relationship Id="rId4" Type="http://schemas.openxmlformats.org/officeDocument/2006/relationships/tags" Target="../tags/tag490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1.xml"/><Relationship Id="rId13" Type="http://schemas.openxmlformats.org/officeDocument/2006/relationships/image" Target="../media/image1.emf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12" Type="http://schemas.openxmlformats.org/officeDocument/2006/relationships/oleObject" Target="../embeddings/oleObject9.bin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68.xml"/><Relationship Id="rId10" Type="http://schemas.openxmlformats.org/officeDocument/2006/relationships/tags" Target="../tags/tag73.xml"/><Relationship Id="rId4" Type="http://schemas.openxmlformats.org/officeDocument/2006/relationships/tags" Target="../tags/tag67.xml"/><Relationship Id="rId9" Type="http://schemas.openxmlformats.org/officeDocument/2006/relationships/tags" Target="../tags/tag72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494.xml"/><Relationship Id="rId7" Type="http://schemas.openxmlformats.org/officeDocument/2006/relationships/image" Target="../media/image2.emf"/><Relationship Id="rId2" Type="http://schemas.openxmlformats.org/officeDocument/2006/relationships/tags" Target="../tags/tag493.xml"/><Relationship Id="rId1" Type="http://schemas.openxmlformats.org/officeDocument/2006/relationships/tags" Target="../tags/tag492.x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49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1.xml"/><Relationship Id="rId13" Type="http://schemas.openxmlformats.org/officeDocument/2006/relationships/oleObject" Target="../embeddings/oleObject10.bin"/><Relationship Id="rId3" Type="http://schemas.openxmlformats.org/officeDocument/2006/relationships/tags" Target="../tags/tag76.xml"/><Relationship Id="rId7" Type="http://schemas.openxmlformats.org/officeDocument/2006/relationships/tags" Target="../tags/tag80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tags" Target="../tags/tag79.xml"/><Relationship Id="rId11" Type="http://schemas.openxmlformats.org/officeDocument/2006/relationships/tags" Target="../tags/tag84.xml"/><Relationship Id="rId5" Type="http://schemas.openxmlformats.org/officeDocument/2006/relationships/tags" Target="../tags/tag78.xml"/><Relationship Id="rId10" Type="http://schemas.openxmlformats.org/officeDocument/2006/relationships/tags" Target="../tags/tag83.xml"/><Relationship Id="rId4" Type="http://schemas.openxmlformats.org/officeDocument/2006/relationships/tags" Target="../tags/tag77.xml"/><Relationship Id="rId9" Type="http://schemas.openxmlformats.org/officeDocument/2006/relationships/tags" Target="../tags/tag82.xml"/><Relationship Id="rId14" Type="http://schemas.openxmlformats.org/officeDocument/2006/relationships/image" Target="../media/image1.emf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98.xml"/><Relationship Id="rId7" Type="http://schemas.openxmlformats.org/officeDocument/2006/relationships/oleObject" Target="../embeddings/oleObject2.bin"/><Relationship Id="rId2" Type="http://schemas.openxmlformats.org/officeDocument/2006/relationships/tags" Target="../tags/tag497.xml"/><Relationship Id="rId1" Type="http://schemas.openxmlformats.org/officeDocument/2006/relationships/tags" Target="../tags/tag496.x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500.xml"/><Relationship Id="rId4" Type="http://schemas.openxmlformats.org/officeDocument/2006/relationships/tags" Target="../tags/tag49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505.xml"/><Relationship Id="rId7" Type="http://schemas.openxmlformats.org/officeDocument/2006/relationships/oleObject" Target="../embeddings/oleObject2.bin"/><Relationship Id="rId2" Type="http://schemas.openxmlformats.org/officeDocument/2006/relationships/tags" Target="../tags/tag504.xml"/><Relationship Id="rId1" Type="http://schemas.openxmlformats.org/officeDocument/2006/relationships/tags" Target="../tags/tag503.x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507.xml"/><Relationship Id="rId10" Type="http://schemas.openxmlformats.org/officeDocument/2006/relationships/image" Target="../media/image13.png"/><Relationship Id="rId4" Type="http://schemas.openxmlformats.org/officeDocument/2006/relationships/tags" Target="../tags/tag506.xml"/><Relationship Id="rId9" Type="http://schemas.openxmlformats.org/officeDocument/2006/relationships/image" Target="../media/image12.png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510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509.xml"/><Relationship Id="rId1" Type="http://schemas.openxmlformats.org/officeDocument/2006/relationships/tags" Target="../tags/tag508.xml"/><Relationship Id="rId6" Type="http://schemas.openxmlformats.org/officeDocument/2006/relationships/tags" Target="../tags/tag513.xml"/><Relationship Id="rId5" Type="http://schemas.openxmlformats.org/officeDocument/2006/relationships/tags" Target="../tags/tag512.xml"/><Relationship Id="rId4" Type="http://schemas.openxmlformats.org/officeDocument/2006/relationships/tags" Target="../tags/tag511.xml"/><Relationship Id="rId9" Type="http://schemas.openxmlformats.org/officeDocument/2006/relationships/image" Target="../media/image1.emf"/></Relationships>
</file>

<file path=ppt/slideLayouts/_rels/slideLayout9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516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515.xml"/><Relationship Id="rId1" Type="http://schemas.openxmlformats.org/officeDocument/2006/relationships/tags" Target="../tags/tag514.xml"/><Relationship Id="rId6" Type="http://schemas.openxmlformats.org/officeDocument/2006/relationships/tags" Target="../tags/tag519.xml"/><Relationship Id="rId5" Type="http://schemas.openxmlformats.org/officeDocument/2006/relationships/tags" Target="../tags/tag518.xml"/><Relationship Id="rId4" Type="http://schemas.openxmlformats.org/officeDocument/2006/relationships/tags" Target="../tags/tag517.xml"/><Relationship Id="rId9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B2BB598-2691-4D01-A539-1D662EC06D72}"/>
              </a:ext>
            </a:extLst>
          </p:cNvPr>
          <p:cNvSpPr/>
          <p:nvPr userDrawn="1"/>
        </p:nvSpPr>
        <p:spPr>
          <a:xfrm>
            <a:off x="3176" y="2414017"/>
            <a:ext cx="12188824" cy="443484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ABE5ED7-62AC-442E-9D78-2775559457BD}"/>
              </a:ext>
            </a:extLst>
          </p:cNvPr>
          <p:cNvSpPr/>
          <p:nvPr userDrawn="1"/>
        </p:nvSpPr>
        <p:spPr>
          <a:xfrm>
            <a:off x="3176" y="2171700"/>
            <a:ext cx="12188824" cy="186085"/>
          </a:xfrm>
          <a:prstGeom prst="rect">
            <a:avLst/>
          </a:prstGeom>
          <a:solidFill>
            <a:srgbClr val="C3922E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5369239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47688" y="4951630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4153476"/>
            <a:ext cx="9726795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CDF1E86B-230A-4AE3-92EE-18802C00ED66}"/>
              </a:ext>
            </a:extLst>
          </p:cNvPr>
          <p:cNvSpPr txBox="1">
            <a:spLocks/>
          </p:cNvSpPr>
          <p:nvPr userDrawn="1"/>
        </p:nvSpPr>
        <p:spPr>
          <a:xfrm>
            <a:off x="547688" y="903956"/>
            <a:ext cx="4502836" cy="3077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overnment of Khyber Pakhtunkhwa</a:t>
            </a:r>
          </a:p>
        </p:txBody>
      </p:sp>
    </p:spTree>
    <p:extLst>
      <p:ext uri="{BB962C8B-B14F-4D97-AF65-F5344CB8AC3E}">
        <p14:creationId xmlns:p14="http://schemas.microsoft.com/office/powerpoint/2010/main" val="275211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572" imgH="588" progId="TCLayout.ActiveDocument.1">
                  <p:embed/>
                </p:oleObj>
              </mc:Choice>
              <mc:Fallback>
                <p:oleObj name="think-cell Slide" r:id="rId13" imgW="572" imgH="588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19011"/>
            <a:ext cx="6967728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8" y="976471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726724E-39EB-4427-A8AA-44412DA77211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Right">
            <a:extLst>
              <a:ext uri="{FF2B5EF4-FFF2-40B4-BE49-F238E27FC236}">
                <a16:creationId xmlns:a16="http://schemas.microsoft.com/office/drawing/2014/main" id="{283AA53C-33A4-4DA5-9E72-12C2883CAF2A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937377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TopLineLeft">
            <a:extLst>
              <a:ext uri="{FF2B5EF4-FFF2-40B4-BE49-F238E27FC236}">
                <a16:creationId xmlns:a16="http://schemas.microsoft.com/office/drawing/2014/main" id="{D0F7ADBC-6D86-4EAD-85BB-DADD184C60B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937377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6E3AEA7-76E4-4DBB-B219-BB82D650A1EE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937377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016487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 sz="240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514600" cy="63158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>
                    <a:lumMod val="75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772DBDA-FB37-4E42-BF1B-A630FCA6154F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bg2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TopLineRight">
            <a:extLst>
              <a:ext uri="{FF2B5EF4-FFF2-40B4-BE49-F238E27FC236}">
                <a16:creationId xmlns:a16="http://schemas.microsoft.com/office/drawing/2014/main" id="{0925431E-93BB-4CAF-8412-89898F216A8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9322" y="937377"/>
            <a:ext cx="7918704" cy="0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Left">
            <a:extLst>
              <a:ext uri="{FF2B5EF4-FFF2-40B4-BE49-F238E27FC236}">
                <a16:creationId xmlns:a16="http://schemas.microsoft.com/office/drawing/2014/main" id="{D19401A5-72E5-4C46-8FAA-8600CAC4127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937377"/>
            <a:ext cx="2514600" cy="0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671114" y="660633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085757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 sz="240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514600" cy="63158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>
                    <a:lumMod val="75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772DBDA-FB37-4E42-BF1B-A630FCA6154F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bg2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Left">
            <a:extLst>
              <a:ext uri="{FF2B5EF4-FFF2-40B4-BE49-F238E27FC236}">
                <a16:creationId xmlns:a16="http://schemas.microsoft.com/office/drawing/2014/main" id="{D19401A5-72E5-4C46-8FAA-8600CAC4127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937377"/>
            <a:ext cx="2514600" cy="0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671114" y="660633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989969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 sz="240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5" y="3659644"/>
            <a:ext cx="3465575" cy="31579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>
                    <a:lumMod val="75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D6D9AAC-8287-4317-918C-6755B5E17803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bg2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Left">
            <a:extLst>
              <a:ext uri="{FF2B5EF4-FFF2-40B4-BE49-F238E27FC236}">
                <a16:creationId xmlns:a16="http://schemas.microsoft.com/office/drawing/2014/main" id="{04B50E07-5CF6-4FA4-80C0-5A97640377DD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937377"/>
            <a:ext cx="3465576" cy="0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671114" y="660633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864741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671114" y="660633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485150"/>
            <a:ext cx="5065776" cy="418582"/>
          </a:xfrm>
        </p:spPr>
        <p:txBody>
          <a:bodyPr>
            <a:sp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8" y="976471"/>
            <a:ext cx="5065776" cy="31579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281C890-544A-4E72-8093-FD345BC9BA7E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bg2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TopLineRight">
            <a:extLst>
              <a:ext uri="{FF2B5EF4-FFF2-40B4-BE49-F238E27FC236}">
                <a16:creationId xmlns:a16="http://schemas.microsoft.com/office/drawing/2014/main" id="{4621481D-27E5-4F87-B45B-41DC18907499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937377"/>
            <a:ext cx="5065776" cy="0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TopLineLeft">
            <a:extLst>
              <a:ext uri="{FF2B5EF4-FFF2-40B4-BE49-F238E27FC236}">
                <a16:creationId xmlns:a16="http://schemas.microsoft.com/office/drawing/2014/main" id="{29C45080-F0A3-4994-8BE9-0C272784001F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937377"/>
            <a:ext cx="5065776" cy="0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0324EE6-02E1-4789-BCBA-CEC16E7B160F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937377"/>
            <a:ext cx="5065776" cy="0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4827334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572" imgH="588" progId="TCLayout.ActiveDocument.1">
                  <p:embed/>
                </p:oleObj>
              </mc:Choice>
              <mc:Fallback>
                <p:oleObj name="think-cell Slide" r:id="rId13" imgW="572" imgH="588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85150"/>
            <a:ext cx="6967728" cy="418582"/>
          </a:xfrm>
        </p:spPr>
        <p:txBody>
          <a:bodyPr>
            <a:sp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8" y="976471"/>
            <a:ext cx="6967728" cy="31579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726724E-39EB-4427-A8AA-44412DA77211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bg2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Right">
            <a:extLst>
              <a:ext uri="{FF2B5EF4-FFF2-40B4-BE49-F238E27FC236}">
                <a16:creationId xmlns:a16="http://schemas.microsoft.com/office/drawing/2014/main" id="{283AA53C-33A4-4DA5-9E72-12C2883CAF2A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1" y="937377"/>
            <a:ext cx="3465576" cy="0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TopLineLeft">
            <a:extLst>
              <a:ext uri="{FF2B5EF4-FFF2-40B4-BE49-F238E27FC236}">
                <a16:creationId xmlns:a16="http://schemas.microsoft.com/office/drawing/2014/main" id="{D0F7ADBC-6D86-4EAD-85BB-DADD184C60BD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937377"/>
            <a:ext cx="6967728" cy="0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6E3AEA7-76E4-4DBB-B219-BB82D650A1EE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937377"/>
            <a:ext cx="6967728" cy="0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11"/>
            </p:custDataLst>
          </p:nvPr>
        </p:nvSpPr>
        <p:spPr bwMode="black">
          <a:xfrm>
            <a:off x="11671114" y="660633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5" name="Footer Placeholder 5">
            <a:extLst>
              <a:ext uri="{FF2B5EF4-FFF2-40B4-BE49-F238E27FC236}">
                <a16:creationId xmlns:a16="http://schemas.microsoft.com/office/drawing/2014/main" id="{5C41599A-8B2D-4A1E-BD19-DCE48FA92F66}"/>
              </a:ext>
            </a:extLst>
          </p:cNvPr>
          <p:cNvSpPr txBox="1">
            <a:spLocks/>
          </p:cNvSpPr>
          <p:nvPr userDrawn="1"/>
        </p:nvSpPr>
        <p:spPr>
          <a:xfrm>
            <a:off x="10108413" y="6615294"/>
            <a:ext cx="1615828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erozsons Laboratories Limited</a:t>
            </a:r>
          </a:p>
        </p:txBody>
      </p:sp>
    </p:spTree>
    <p:extLst>
      <p:ext uri="{BB962C8B-B14F-4D97-AF65-F5344CB8AC3E}">
        <p14:creationId xmlns:p14="http://schemas.microsoft.com/office/powerpoint/2010/main" val="27685192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6">
          <p15:clr>
            <a:srgbClr val="FBAE40"/>
          </p15:clr>
        </p15:guide>
        <p15:guide id="2" pos="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13" imgH="416" progId="TCLayout.ActiveDocument.1">
                  <p:embed/>
                </p:oleObj>
              </mc:Choice>
              <mc:Fallback>
                <p:oleObj name="think-cell Slide" r:id="rId12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85150"/>
            <a:ext cx="7918704" cy="418582"/>
          </a:xfrm>
        </p:spPr>
        <p:txBody>
          <a:bodyPr>
            <a:sp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8" y="976471"/>
            <a:ext cx="7918704" cy="31579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AAD7185-9C2E-470E-957D-B21838859294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bg2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0201B559-53A5-4D8D-8C98-7ED52ACCCCB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9119861" y="937377"/>
            <a:ext cx="2514600" cy="0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1BA93093-D8C7-45C3-AAB7-AF77483A929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937377"/>
            <a:ext cx="7918704" cy="0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black">
          <a:xfrm>
            <a:off x="11671114" y="660633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141349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79" y="0"/>
            <a:ext cx="12191842" cy="6858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51" tIns="45726" rIns="91451" bIns="45726" rtlCol="0" anchor="ctr"/>
          <a:lstStyle/>
          <a:p>
            <a:pPr marL="0" marR="0" lvl="0" indent="0" algn="ctr" defTabSz="9145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81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79" y="0"/>
            <a:ext cx="12191842" cy="6858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51" tIns="45726" rIns="91451" bIns="45726" rtlCol="0" anchor="ctr"/>
          <a:lstStyle/>
          <a:p>
            <a:pPr marL="0" marR="0" lvl="0" indent="0" algn="ctr" defTabSz="9145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81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54736" y="172212"/>
            <a:ext cx="10160065" cy="73152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060507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13" imgH="416" progId="TCLayout.ActiveDocument.1">
                  <p:embed/>
                </p:oleObj>
              </mc:Choice>
              <mc:Fallback>
                <p:oleObj name="think-cell Slide" r:id="rId12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519011"/>
            <a:ext cx="7918704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8" y="976471"/>
            <a:ext cx="791870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AAD7185-9C2E-470E-957D-B21838859294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0201B559-53A5-4D8D-8C98-7ED52ACCCCB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937377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1BA93093-D8C7-45C3-AAB7-AF77483A929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937377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87218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521970"/>
            <a:ext cx="10160065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4A798E0-E4C0-4608-98C8-90E1F413EFC6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764F4EC-8126-41DB-9F1E-559D1F1F1FCC}"/>
              </a:ext>
            </a:extLst>
          </p:cNvPr>
          <p:cNvCxnSpPr>
            <a:cxnSpLocks/>
          </p:cNvCxnSpPr>
          <p:nvPr userDrawn="1"/>
        </p:nvCxnSpPr>
        <p:spPr>
          <a:xfrm>
            <a:off x="554736" y="937377"/>
            <a:ext cx="11089576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28052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7593668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2716" y="2387956"/>
            <a:ext cx="2299839" cy="2049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03957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84810"/>
            <a:ext cx="8778240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772DBDA-FB37-4E42-BF1B-A630FCA6154F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TopLineRight">
            <a:extLst>
              <a:ext uri="{FF2B5EF4-FFF2-40B4-BE49-F238E27FC236}">
                <a16:creationId xmlns:a16="http://schemas.microsoft.com/office/drawing/2014/main" id="{0925431E-93BB-4CAF-8412-89898F216A8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937377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Left">
            <a:extLst>
              <a:ext uri="{FF2B5EF4-FFF2-40B4-BE49-F238E27FC236}">
                <a16:creationId xmlns:a16="http://schemas.microsoft.com/office/drawing/2014/main" id="{D19401A5-72E5-4C46-8FAA-8600CAC4127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937377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408547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13" imgH="416" progId="TCLayout.ActiveDocument.1">
                  <p:embed/>
                </p:oleObj>
              </mc:Choice>
              <mc:Fallback>
                <p:oleObj name="think-cell Slide" r:id="rId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7" y="172212"/>
            <a:ext cx="10160065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6570587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7" y="172212"/>
            <a:ext cx="10160065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8" y="976471"/>
            <a:ext cx="10160065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1630722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5F2662-8A9C-4CB0-BFA7-CA7BE5EAF0BF}" type="slidenum"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47957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88037" y="304799"/>
            <a:ext cx="11332463" cy="598933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288038" y="976472"/>
            <a:ext cx="11332463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498755"/>
            <a:ext cx="7277861" cy="12561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288034" y="41597"/>
            <a:ext cx="3931920" cy="193899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>
            <a:spAutoFit/>
          </a:bodyPr>
          <a:lstStyle>
            <a:lvl1pPr>
              <a:buNone/>
              <a:defRPr lang="en-US" sz="1400" b="1" dirty="0">
                <a:solidFill>
                  <a:schemeClr val="bg1"/>
                </a:solidFill>
                <a:cs typeface="+mn-cs"/>
              </a:defRPr>
            </a:lvl1pPr>
          </a:lstStyle>
          <a:p>
            <a:pPr marL="228600" lvl="0" indent="-228600"/>
            <a:r>
              <a:rPr lang="en-US" dirty="0"/>
              <a:t>Add tracker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36F7A62-D82D-4AA6-A1AE-2AF515AD9496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287338" y="6481763"/>
            <a:ext cx="2166937" cy="277812"/>
          </a:xfrm>
        </p:spPr>
        <p:txBody>
          <a:bodyPr/>
          <a:lstStyle>
            <a:lvl1pPr>
              <a:buNone/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Add Source</a:t>
            </a:r>
          </a:p>
        </p:txBody>
      </p:sp>
    </p:spTree>
    <p:extLst>
      <p:ext uri="{BB962C8B-B14F-4D97-AF65-F5344CB8AC3E}">
        <p14:creationId xmlns:p14="http://schemas.microsoft.com/office/powerpoint/2010/main" val="39500368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13" imgH="416" progId="TCLayout.ActiveDocument.1">
                  <p:embed/>
                </p:oleObj>
              </mc:Choice>
              <mc:Fallback>
                <p:oleObj name="think-cell Slide" r:id="rId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7" y="103152"/>
            <a:ext cx="10160065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32210610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c id"/>
          <p:cNvSpPr txBox="1">
            <a:spLocks noChangeArrowheads="1"/>
          </p:cNvSpPr>
          <p:nvPr/>
        </p:nvSpPr>
        <p:spPr bwMode="auto">
          <a:xfrm>
            <a:off x="11485767" y="37255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7641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50000"/>
              </a:spcAft>
              <a:buClr>
                <a:srgbClr val="000000"/>
              </a:buClr>
              <a:buSzPct val="125000"/>
              <a:buFont typeface="Arial" charset="0"/>
              <a:buChar char="▪"/>
              <a:tabLst/>
              <a:defRPr/>
            </a:pP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grpSp>
        <p:nvGrpSpPr>
          <p:cNvPr id="2" name="McK Title Elements"/>
          <p:cNvGrpSpPr>
            <a:grpSpLocks/>
          </p:cNvGrpSpPr>
          <p:nvPr/>
        </p:nvGrpSpPr>
        <p:grpSpPr bwMode="auto">
          <a:xfrm>
            <a:off x="24" y="19"/>
            <a:ext cx="12187680" cy="6859620"/>
            <a:chOff x="0" y="0"/>
            <a:chExt cx="5643" cy="4235"/>
          </a:xfrm>
        </p:grpSpPr>
        <p:sp>
          <p:nvSpPr>
            <p:cNvPr id="6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42"/>
              <a:ext cx="3109" cy="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6764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Document type</a:t>
              </a:r>
            </a:p>
          </p:txBody>
        </p:sp>
        <p:sp>
          <p:nvSpPr>
            <p:cNvPr id="7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500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6764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Date</a:t>
              </a:r>
            </a:p>
          </p:txBody>
        </p:sp>
        <p:sp>
          <p:nvSpPr>
            <p:cNvPr id="8" name="McK Disclaimer" hidden="1"/>
            <p:cNvSpPr>
              <a:spLocks noChangeArrowheads="1"/>
            </p:cNvSpPr>
            <p:nvPr/>
          </p:nvSpPr>
          <p:spPr bwMode="auto">
            <a:xfrm>
              <a:off x="1663" y="3754"/>
              <a:ext cx="277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0" marR="0" lvl="0" indent="0" algn="l" defTabSz="546954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NFIDENTIAL AND PROPRIETARY</a:t>
              </a:r>
            </a:p>
            <a:p>
              <a:pPr marL="0" marR="0" lvl="0" indent="0" algn="l" defTabSz="546954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9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67641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50000"/>
                </a:spcAft>
                <a:buClr>
                  <a:srgbClr val="000000"/>
                </a:buClr>
                <a:buSzPct val="125000"/>
                <a:buFont typeface="Arial" charset="0"/>
                <a:buChar char="▪"/>
                <a:tabLst/>
                <a:defRPr/>
              </a:pPr>
              <a:endPara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67641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50000"/>
                </a:spcAft>
                <a:buClr>
                  <a:srgbClr val="000000"/>
                </a:buClr>
                <a:buSzPct val="125000"/>
                <a:buFont typeface="Arial" charset="0"/>
                <a:buChar char="▪"/>
                <a:tabLst/>
                <a:defRPr/>
              </a:pPr>
              <a:endPara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67641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50000"/>
                </a:spcAft>
                <a:buClr>
                  <a:srgbClr val="000000"/>
                </a:buClr>
                <a:buSzPct val="125000"/>
                <a:buFont typeface="Arial" charset="0"/>
                <a:buChar char="▪"/>
                <a:tabLst/>
                <a:defRPr/>
              </a:pPr>
              <a:endPara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60119" y="6575795"/>
            <a:ext cx="2226740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9302205" y="6608190"/>
            <a:ext cx="2902755" cy="241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2851" tIns="41467" rIns="82851" bIns="41467" numCol="1" anchor="ctr" anchorCtr="0" compatLnSpc="1">
            <a:prstTxWarp prst="textNoShape">
              <a:avLst/>
            </a:prstTxWarp>
          </a:bodyPr>
          <a:lstStyle>
            <a:lvl1pPr algn="r" defTabSz="62030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750">
                <a:solidFill>
                  <a:srgbClr val="898989"/>
                </a:solidFill>
                <a:latin typeface="Calibri" pitchFamily="34" charset="0"/>
                <a:cs typeface="Arial" charset="0"/>
              </a:defRPr>
            </a:lvl1pPr>
          </a:lstStyle>
          <a:p>
            <a:pPr marL="0" marR="0" lvl="0" indent="0" algn="r" defTabSz="6203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26BA542-90D0-46B1-AAF3-72F77130497C}" type="slidenum">
              <a:rPr kumimoji="0" lang="en-GB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pPr marL="0" marR="0" lvl="0" indent="0" algn="r" defTabSz="6203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75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94407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4532" y="385770"/>
            <a:ext cx="11014925" cy="31402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4532" y="1656521"/>
            <a:ext cx="11014925" cy="44849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ocID"/>
          <p:cNvSpPr txBox="1"/>
          <p:nvPr/>
        </p:nvSpPr>
        <p:spPr>
          <a:xfrm>
            <a:off x="1609224" y="6559754"/>
            <a:ext cx="65" cy="80791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marL="0" marR="0" lvl="0" indent="0" algn="l" defTabSz="682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525" b="0" i="0" u="none" strike="noStrike" kern="1200" cap="none" spc="0" normalizeH="0" baseline="0" noProof="0" dirty="0">
              <a:ln>
                <a:noFill/>
              </a:ln>
              <a:solidFill>
                <a:srgbClr val="606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DocID"/>
          <p:cNvSpPr txBox="1"/>
          <p:nvPr userDrawn="1"/>
        </p:nvSpPr>
        <p:spPr>
          <a:xfrm>
            <a:off x="1609224" y="6559754"/>
            <a:ext cx="65" cy="80791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marL="0" marR="0" lvl="0" indent="0" algn="l" defTabSz="682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525" b="0" i="0" u="none" strike="noStrike" kern="1200" cap="none" spc="0" normalizeH="0" baseline="0" noProof="0" dirty="0">
              <a:ln>
                <a:noFill/>
              </a:ln>
              <a:solidFill>
                <a:srgbClr val="606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584532" y="6257150"/>
            <a:ext cx="11014925" cy="22146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/>
            </a:lvl1pPr>
          </a:lstStyle>
          <a:p>
            <a:pPr lvl="0"/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584532" y="1258514"/>
            <a:ext cx="11014925" cy="2778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69969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FC9DA6-F212-5142-9819-C335768D7B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aa-ET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ECC8153-5BF0-E24E-BAEA-4E65DB78A76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aa-E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D7E2232-F28C-2747-A6AA-DC550AB9D1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D08DEE-9A0E-2044-A481-9CA24293B089}" type="datetime1">
              <a:rPr kumimoji="0" lang="en-GB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/05/2025</a:t>
            </a:fld>
            <a:endParaRPr kumimoji="0" lang="aa-ET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09D01F-C306-004E-8C30-C96400DE9E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a-ET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20B904-EE70-8443-84F9-6B5F6235E7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B27580-13DE-1E4C-A5F2-A391375574EA}" type="slidenum">
              <a:rPr kumimoji="0" lang="aa-ET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aa-ET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902758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5F22525-79A2-451F-9944-47D4183A451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05951" y="6423914"/>
            <a:ext cx="2844799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CD4B7E-D172-41E4-BE36-64B5A7E393CD}" type="datetimeFigureOut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494BA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31/2025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3494BA"/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B9B8C25-AF44-4D9D-A667-69D9A92B1C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95363" y="6423914"/>
            <a:ext cx="105251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03CDE5-C1D8-4EDD-870F-A498BAFA520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494BA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3494BA"/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FF54790-C8AC-4CF8-8E89-80C5C90F3A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55101" y="6423914"/>
            <a:ext cx="6818262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0" normalizeH="0" baseline="0" noProof="0">
                <a:ln>
                  <a:noFill/>
                </a:ln>
                <a:solidFill>
                  <a:srgbClr val="3494BA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Teach a Cours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020220C-6241-4A3B-9017-445FC82876DD}"/>
              </a:ext>
            </a:extLst>
          </p:cNvPr>
          <p:cNvSpPr>
            <a:spLocks noChangeAspect="1"/>
          </p:cNvSpPr>
          <p:nvPr userDrawn="1"/>
        </p:nvSpPr>
        <p:spPr>
          <a:xfrm>
            <a:off x="440683" y="606555"/>
            <a:ext cx="11300036" cy="64427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2206A44-565D-4C18-8891-86387B9011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1281" y="194820"/>
            <a:ext cx="11029616" cy="9883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3277383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5369239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47688" y="4951630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4153476"/>
            <a:ext cx="9726795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16042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9547138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F9993B8-5743-4B3A-9BEF-DD9C57A04F7F}"/>
              </a:ext>
            </a:extLst>
          </p:cNvPr>
          <p:cNvCxnSpPr>
            <a:cxnSpLocks/>
          </p:cNvCxnSpPr>
          <p:nvPr userDrawn="1"/>
        </p:nvCxnSpPr>
        <p:spPr>
          <a:xfrm>
            <a:off x="554736" y="937377"/>
            <a:ext cx="11089576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513831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7" y="103152"/>
            <a:ext cx="10160065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F9993B8-5743-4B3A-9BEF-DD9C57A04F7F}"/>
              </a:ext>
            </a:extLst>
          </p:cNvPr>
          <p:cNvCxnSpPr>
            <a:cxnSpLocks/>
          </p:cNvCxnSpPr>
          <p:nvPr userDrawn="1"/>
        </p:nvCxnSpPr>
        <p:spPr>
          <a:xfrm>
            <a:off x="554736" y="937377"/>
            <a:ext cx="11089576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187013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F9993B8-5743-4B3A-9BEF-DD9C57A04F7F}"/>
              </a:ext>
            </a:extLst>
          </p:cNvPr>
          <p:cNvCxnSpPr>
            <a:cxnSpLocks/>
          </p:cNvCxnSpPr>
          <p:nvPr userDrawn="1"/>
        </p:nvCxnSpPr>
        <p:spPr>
          <a:xfrm>
            <a:off x="554736" y="937377"/>
            <a:ext cx="11089576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5111723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F9993B8-5743-4B3A-9BEF-DD9C57A04F7F}"/>
              </a:ext>
            </a:extLst>
          </p:cNvPr>
          <p:cNvCxnSpPr>
            <a:cxnSpLocks/>
          </p:cNvCxnSpPr>
          <p:nvPr userDrawn="1"/>
        </p:nvCxnSpPr>
        <p:spPr>
          <a:xfrm>
            <a:off x="554736" y="937377"/>
            <a:ext cx="11089576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58311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24684867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F9993B8-5743-4B3A-9BEF-DD9C57A04F7F}"/>
              </a:ext>
            </a:extLst>
          </p:cNvPr>
          <p:cNvCxnSpPr>
            <a:cxnSpLocks/>
          </p:cNvCxnSpPr>
          <p:nvPr userDrawn="1"/>
        </p:nvCxnSpPr>
        <p:spPr>
          <a:xfrm>
            <a:off x="554736" y="937377"/>
            <a:ext cx="11089576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1401255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3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F9993B8-5743-4B3A-9BEF-DD9C57A04F7F}"/>
              </a:ext>
            </a:extLst>
          </p:cNvPr>
          <p:cNvCxnSpPr>
            <a:cxnSpLocks/>
          </p:cNvCxnSpPr>
          <p:nvPr userDrawn="1"/>
        </p:nvCxnSpPr>
        <p:spPr>
          <a:xfrm>
            <a:off x="554736" y="937377"/>
            <a:ext cx="11089576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26595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772DBDA-FB37-4E42-BF1B-A630FCA6154F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Left">
            <a:extLst>
              <a:ext uri="{FF2B5EF4-FFF2-40B4-BE49-F238E27FC236}">
                <a16:creationId xmlns:a16="http://schemas.microsoft.com/office/drawing/2014/main" id="{D19401A5-72E5-4C46-8FAA-8600CAC4127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937377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6BBE091D-712C-4217-8ACC-0D726A9E4244}"/>
              </a:ext>
            </a:extLst>
          </p:cNvPr>
          <p:cNvSpPr txBox="1">
            <a:spLocks/>
          </p:cNvSpPr>
          <p:nvPr userDrawn="1"/>
        </p:nvSpPr>
        <p:spPr>
          <a:xfrm>
            <a:off x="567614" y="6528816"/>
            <a:ext cx="1744067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fidential – For Discussion only</a:t>
            </a:r>
          </a:p>
        </p:txBody>
      </p:sp>
    </p:spTree>
    <p:extLst>
      <p:ext uri="{BB962C8B-B14F-4D97-AF65-F5344CB8AC3E}">
        <p14:creationId xmlns:p14="http://schemas.microsoft.com/office/powerpoint/2010/main" val="266422703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D6D9AAC-8287-4317-918C-6755B5E17803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Left">
            <a:extLst>
              <a:ext uri="{FF2B5EF4-FFF2-40B4-BE49-F238E27FC236}">
                <a16:creationId xmlns:a16="http://schemas.microsoft.com/office/drawing/2014/main" id="{04B50E07-5CF6-4FA4-80C0-5A97640377DD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937377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6BBE091D-712C-4217-8ACC-0D726A9E4244}"/>
              </a:ext>
            </a:extLst>
          </p:cNvPr>
          <p:cNvSpPr txBox="1">
            <a:spLocks/>
          </p:cNvSpPr>
          <p:nvPr userDrawn="1"/>
        </p:nvSpPr>
        <p:spPr>
          <a:xfrm>
            <a:off x="567614" y="6528816"/>
            <a:ext cx="1744067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fidential – For Discussion only</a:t>
            </a:r>
          </a:p>
        </p:txBody>
      </p:sp>
    </p:spTree>
    <p:extLst>
      <p:ext uri="{BB962C8B-B14F-4D97-AF65-F5344CB8AC3E}">
        <p14:creationId xmlns:p14="http://schemas.microsoft.com/office/powerpoint/2010/main" val="44163267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519011"/>
            <a:ext cx="5065776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8" y="976471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281C890-544A-4E72-8093-FD345BC9BA7E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TopLineRight">
            <a:extLst>
              <a:ext uri="{FF2B5EF4-FFF2-40B4-BE49-F238E27FC236}">
                <a16:creationId xmlns:a16="http://schemas.microsoft.com/office/drawing/2014/main" id="{4621481D-27E5-4F87-B45B-41DC18907499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937377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TopLineLeft">
            <a:extLst>
              <a:ext uri="{FF2B5EF4-FFF2-40B4-BE49-F238E27FC236}">
                <a16:creationId xmlns:a16="http://schemas.microsoft.com/office/drawing/2014/main" id="{29C45080-F0A3-4994-8BE9-0C272784001F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937377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0324EE6-02E1-4789-BCBA-CEC16E7B160F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937377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id="{6BBE091D-712C-4217-8ACC-0D726A9E4244}"/>
              </a:ext>
            </a:extLst>
          </p:cNvPr>
          <p:cNvSpPr txBox="1">
            <a:spLocks/>
          </p:cNvSpPr>
          <p:nvPr userDrawn="1"/>
        </p:nvSpPr>
        <p:spPr>
          <a:xfrm>
            <a:off x="567614" y="6528816"/>
            <a:ext cx="1744067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fidential – For Discussion only</a:t>
            </a:r>
          </a:p>
        </p:txBody>
      </p:sp>
    </p:spTree>
    <p:extLst>
      <p:ext uri="{BB962C8B-B14F-4D97-AF65-F5344CB8AC3E}">
        <p14:creationId xmlns:p14="http://schemas.microsoft.com/office/powerpoint/2010/main" val="8029026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572" imgH="588" progId="TCLayout.ActiveDocument.1">
                  <p:embed/>
                </p:oleObj>
              </mc:Choice>
              <mc:Fallback>
                <p:oleObj name="think-cell Slide" r:id="rId13" imgW="572" imgH="588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19011"/>
            <a:ext cx="6967728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8" y="976471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726724E-39EB-4427-A8AA-44412DA77211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Right">
            <a:extLst>
              <a:ext uri="{FF2B5EF4-FFF2-40B4-BE49-F238E27FC236}">
                <a16:creationId xmlns:a16="http://schemas.microsoft.com/office/drawing/2014/main" id="{283AA53C-33A4-4DA5-9E72-12C2883CAF2A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937377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TopLineLeft">
            <a:extLst>
              <a:ext uri="{FF2B5EF4-FFF2-40B4-BE49-F238E27FC236}">
                <a16:creationId xmlns:a16="http://schemas.microsoft.com/office/drawing/2014/main" id="{D0F7ADBC-6D86-4EAD-85BB-DADD184C60B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937377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6E3AEA7-76E4-4DBB-B219-BB82D650A1EE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937377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Footer Placeholder 5">
            <a:extLst>
              <a:ext uri="{FF2B5EF4-FFF2-40B4-BE49-F238E27FC236}">
                <a16:creationId xmlns:a16="http://schemas.microsoft.com/office/drawing/2014/main" id="{6BBE091D-712C-4217-8ACC-0D726A9E4244}"/>
              </a:ext>
            </a:extLst>
          </p:cNvPr>
          <p:cNvSpPr txBox="1">
            <a:spLocks/>
          </p:cNvSpPr>
          <p:nvPr userDrawn="1"/>
        </p:nvSpPr>
        <p:spPr>
          <a:xfrm>
            <a:off x="567614" y="6528816"/>
            <a:ext cx="1744067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fidential – For Discussion only</a:t>
            </a:r>
          </a:p>
        </p:txBody>
      </p:sp>
    </p:spTree>
    <p:extLst>
      <p:ext uri="{BB962C8B-B14F-4D97-AF65-F5344CB8AC3E}">
        <p14:creationId xmlns:p14="http://schemas.microsoft.com/office/powerpoint/2010/main" val="209486665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13" imgH="416" progId="TCLayout.ActiveDocument.1">
                  <p:embed/>
                </p:oleObj>
              </mc:Choice>
              <mc:Fallback>
                <p:oleObj name="think-cell Slide" r:id="rId12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519011"/>
            <a:ext cx="7918704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8" y="976471"/>
            <a:ext cx="791870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AAD7185-9C2E-470E-957D-B21838859294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0201B559-53A5-4D8D-8C98-7ED52ACCCCB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937377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1BA93093-D8C7-45C3-AAB7-AF77483A929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937377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6BBE091D-712C-4217-8ACC-0D726A9E4244}"/>
              </a:ext>
            </a:extLst>
          </p:cNvPr>
          <p:cNvSpPr txBox="1">
            <a:spLocks/>
          </p:cNvSpPr>
          <p:nvPr userDrawn="1"/>
        </p:nvSpPr>
        <p:spPr>
          <a:xfrm>
            <a:off x="567614" y="6528816"/>
            <a:ext cx="1744067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fidential – For Discussion only</a:t>
            </a:r>
          </a:p>
        </p:txBody>
      </p:sp>
    </p:spTree>
    <p:extLst>
      <p:ext uri="{BB962C8B-B14F-4D97-AF65-F5344CB8AC3E}">
        <p14:creationId xmlns:p14="http://schemas.microsoft.com/office/powerpoint/2010/main" val="377001960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Defaul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386009" y="2979444"/>
            <a:ext cx="11332463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498755"/>
            <a:ext cx="7277861" cy="12561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36F7A62-D82D-4AA6-A1AE-2AF515AD9496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287338" y="6481763"/>
            <a:ext cx="2166937" cy="277812"/>
          </a:xfrm>
        </p:spPr>
        <p:txBody>
          <a:bodyPr/>
          <a:lstStyle>
            <a:lvl1pPr>
              <a:buNone/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Add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121413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F9993B8-5743-4B3A-9BEF-DD9C57A04F7F}"/>
              </a:ext>
            </a:extLst>
          </p:cNvPr>
          <p:cNvCxnSpPr>
            <a:cxnSpLocks/>
          </p:cNvCxnSpPr>
          <p:nvPr userDrawn="1"/>
        </p:nvCxnSpPr>
        <p:spPr>
          <a:xfrm>
            <a:off x="554736" y="937377"/>
            <a:ext cx="11089576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982706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cxnSp>
        <p:nvCxnSpPr>
          <p:cNvPr id="16" name="TopLineRight">
            <a:extLst>
              <a:ext uri="{FF2B5EF4-FFF2-40B4-BE49-F238E27FC236}">
                <a16:creationId xmlns:a16="http://schemas.microsoft.com/office/drawing/2014/main" id="{0925431E-93BB-4CAF-8412-89898F216A82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27886" y="937377"/>
            <a:ext cx="11064240" cy="0"/>
          </a:xfrm>
          <a:prstGeom prst="line">
            <a:avLst/>
          </a:prstGeom>
          <a:ln w="6350">
            <a:solidFill>
              <a:srgbClr val="000000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671114" y="660633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63701" y="1024020"/>
            <a:ext cx="9933970" cy="31579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>
                    <a:lumMod val="75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78501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21737570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468982-DC41-074B-AB40-87B3C9594D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PK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4EB70CD-6CAC-094F-B4AE-B59F06744CD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PK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B5695AC-1C89-D245-84B6-D86B43899C6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PK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ED26F97-2D95-6F48-AD44-C13AE1B35A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715BCD-AD48-2742-AC15-671E61DEDAD1}" type="datetimeFigureOut">
              <a:rPr kumimoji="0" lang="en-P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/31/2025</a:t>
            </a:fld>
            <a:endParaRPr kumimoji="0" lang="en-PK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AC87C57-E90A-0E4B-B537-17E336D3C1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K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9530A5-839E-8B4A-8A9A-AA671BB2EE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36449F-D3AD-5A45-9B10-51943849B92B}" type="slidenum">
              <a:rPr kumimoji="0" lang="en-P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PK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324213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339843" y="636751"/>
            <a:ext cx="8192379" cy="502445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265" b="1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339841" y="1732526"/>
            <a:ext cx="8192379" cy="314028"/>
          </a:xfrm>
        </p:spPr>
        <p:txBody>
          <a:bodyPr>
            <a:spAutoFit/>
          </a:bodyPr>
          <a:lstStyle>
            <a:lvl1pPr algn="l">
              <a:defRPr sz="2041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GB" noProof="0" dirty="0"/>
              <a:t>Click to edit Master subtitle style</a:t>
            </a:r>
          </a:p>
        </p:txBody>
      </p:sp>
      <p:sp>
        <p:nvSpPr>
          <p:cNvPr id="18" name="Document type" hidden="1"/>
          <p:cNvSpPr txBox="1">
            <a:spLocks noChangeArrowheads="1"/>
          </p:cNvSpPr>
          <p:nvPr/>
        </p:nvSpPr>
        <p:spPr bwMode="auto">
          <a:xfrm>
            <a:off x="339842" y="2634847"/>
            <a:ext cx="4596815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8559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x-none"/>
            </a:pPr>
            <a:r>
              <a:rPr kumimoji="0" lang="en-GB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Arial"/>
                <a:sym typeface="Arial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34618539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6" progId="TCLayout.ActiveDocument.1">
                  <p:embed/>
                </p:oleObj>
              </mc:Choice>
              <mc:Fallback>
                <p:oleObj name="think-cell Slide" r:id="rId3" imgW="347" imgH="34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3261" y="235072"/>
            <a:ext cx="11725484" cy="3768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2018435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4531" y="385770"/>
            <a:ext cx="11014925" cy="37689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ocID"/>
          <p:cNvSpPr txBox="1"/>
          <p:nvPr/>
        </p:nvSpPr>
        <p:spPr>
          <a:xfrm>
            <a:off x="1609223" y="6532791"/>
            <a:ext cx="65" cy="10772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marL="0" marR="0" lvl="0" indent="0" algn="l" defTabSz="9093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0" b="0" i="0" u="none" strike="noStrike" kern="1200" cap="none" spc="0" normalizeH="0" baseline="0" noProof="0" dirty="0">
              <a:ln>
                <a:noFill/>
              </a:ln>
              <a:solidFill>
                <a:srgbClr val="606060"/>
              </a:solidFill>
              <a:effectLst/>
              <a:uLnTx/>
              <a:uFillTx/>
              <a:latin typeface="Arial"/>
              <a:ea typeface="ＭＳ Ｐゴシック"/>
              <a:cs typeface="Arial"/>
              <a:sym typeface="Arial"/>
            </a:endParaRPr>
          </a:p>
        </p:txBody>
      </p:sp>
      <p:sp>
        <p:nvSpPr>
          <p:cNvPr id="7" name="Rectangle 15"/>
          <p:cNvSpPr>
            <a:spLocks noChangeArrowheads="1"/>
          </p:cNvSpPr>
          <p:nvPr userDrawn="1"/>
        </p:nvSpPr>
        <p:spPr bwMode="gray">
          <a:xfrm>
            <a:off x="11226990" y="6609137"/>
            <a:ext cx="761873" cy="1727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0" marR="0" lvl="0" indent="0" algn="r" defTabSz="909374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06E996-13B1-4F09-8F6B-3AC86B81501F}" type="slidenum"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  <a:latin typeface="Arial"/>
                <a:ea typeface="ＭＳ Ｐゴシック"/>
                <a:cs typeface="Arial" charset="0"/>
                <a:sym typeface="Arial"/>
              </a:rPr>
              <a:pPr marL="0" marR="0" lvl="0" indent="0" algn="r" defTabSz="909374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606060"/>
              </a:solidFill>
              <a:effectLst/>
              <a:uLnTx/>
              <a:uFillTx/>
              <a:latin typeface="Arial"/>
              <a:ea typeface="ＭＳ Ｐゴシック"/>
              <a:cs typeface="Arial" charset="0"/>
              <a:sym typeface="Arial"/>
            </a:endParaRPr>
          </a:p>
        </p:txBody>
      </p:sp>
      <p:sp>
        <p:nvSpPr>
          <p:cNvPr id="9" name="DocID"/>
          <p:cNvSpPr txBox="1"/>
          <p:nvPr userDrawn="1"/>
        </p:nvSpPr>
        <p:spPr>
          <a:xfrm>
            <a:off x="1609223" y="6532791"/>
            <a:ext cx="65" cy="10772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marL="0" marR="0" lvl="0" indent="0" algn="l" defTabSz="9093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0" b="0" i="0" u="none" strike="noStrike" kern="1200" cap="none" spc="0" normalizeH="0" baseline="0" noProof="0" dirty="0">
              <a:ln>
                <a:noFill/>
              </a:ln>
              <a:solidFill>
                <a:srgbClr val="606060"/>
              </a:solidFill>
              <a:effectLst/>
              <a:uLnTx/>
              <a:uFillTx/>
              <a:latin typeface="Arial"/>
              <a:ea typeface="ＭＳ Ｐゴシック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7621698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7425824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B2AA914-6F6F-4F35-B72B-04B2F50B1D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B2AA914-6F6F-4F35-B72B-04B2F50B1D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3765" y="235262"/>
            <a:ext cx="11725484" cy="37689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701820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B2BB598-2691-4D01-A539-1D662EC06D72}"/>
              </a:ext>
            </a:extLst>
          </p:cNvPr>
          <p:cNvSpPr/>
          <p:nvPr userDrawn="1"/>
        </p:nvSpPr>
        <p:spPr>
          <a:xfrm>
            <a:off x="9383487" y="0"/>
            <a:ext cx="2808513" cy="6858001"/>
          </a:xfrm>
          <a:prstGeom prst="rect">
            <a:avLst/>
          </a:prstGeom>
          <a:solidFill>
            <a:srgbClr val="0070C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ABE5ED7-62AC-442E-9D78-2775559457BD}"/>
              </a:ext>
            </a:extLst>
          </p:cNvPr>
          <p:cNvSpPr/>
          <p:nvPr userDrawn="1"/>
        </p:nvSpPr>
        <p:spPr>
          <a:xfrm flipV="1">
            <a:off x="9087171" y="1"/>
            <a:ext cx="79189" cy="6858000"/>
          </a:xfrm>
          <a:prstGeom prst="rect">
            <a:avLst/>
          </a:prstGeom>
          <a:solidFill>
            <a:srgbClr val="6D6B6A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842E8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47687" y="3895055"/>
            <a:ext cx="8309441" cy="25527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44575" y="3460377"/>
            <a:ext cx="8309441" cy="36467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48828" y="2719123"/>
            <a:ext cx="8309441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dirty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ABE5ED7-62AC-442E-9D78-2775559457BD}"/>
              </a:ext>
            </a:extLst>
          </p:cNvPr>
          <p:cNvSpPr/>
          <p:nvPr userDrawn="1"/>
        </p:nvSpPr>
        <p:spPr>
          <a:xfrm flipV="1">
            <a:off x="9209465" y="2839"/>
            <a:ext cx="133877" cy="6858000"/>
          </a:xfrm>
          <a:prstGeom prst="rect">
            <a:avLst/>
          </a:prstGeom>
          <a:solidFill>
            <a:srgbClr val="842E8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5F5A4943-D4E5-A441-BC92-3A04E086C5ED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021" y="6275261"/>
            <a:ext cx="1486541" cy="401392"/>
          </a:xfrm>
          <a:prstGeom prst="rect">
            <a:avLst/>
          </a:prstGeom>
        </p:spPr>
      </p:pic>
      <p:pic>
        <p:nvPicPr>
          <p:cNvPr id="19" name="Picture 21" descr="BF first.png">
            <a:extLst>
              <a:ext uri="{FF2B5EF4-FFF2-40B4-BE49-F238E27FC236}">
                <a16:creationId xmlns:a16="http://schemas.microsoft.com/office/drawing/2014/main" id="{87D0DA30-E487-6A42-859A-54C34C87D8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2434"/>
          <a:stretch/>
        </p:blipFill>
        <p:spPr bwMode="auto">
          <a:xfrm>
            <a:off x="2218689" y="6275261"/>
            <a:ext cx="579633" cy="383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8677967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56290" y="2187773"/>
            <a:ext cx="10107459" cy="1107996"/>
          </a:xfrm>
        </p:spPr>
        <p:txBody>
          <a:bodyPr wrap="square" tIns="0" bIns="0" anchor="t" anchorCtr="0">
            <a:noAutofit/>
          </a:bodyPr>
          <a:lstStyle>
            <a:lvl1pPr>
              <a:defRPr sz="3563" cap="all" baseline="0">
                <a:solidFill>
                  <a:srgbClr val="0070C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56623" y="3723710"/>
            <a:ext cx="8534401" cy="312465"/>
          </a:xfrm>
        </p:spPr>
        <p:txBody>
          <a:bodyPr>
            <a:spAutoFit/>
          </a:bodyPr>
          <a:lstStyle>
            <a:lvl1pPr marL="0" indent="0" algn="l">
              <a:buNone/>
              <a:defRPr sz="1781" b="1">
                <a:solidFill>
                  <a:schemeClr val="bg2">
                    <a:lumMod val="50000"/>
                  </a:schemeClr>
                </a:solidFill>
              </a:defRPr>
            </a:lvl1pPr>
            <a:lvl2pPr marL="4572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9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2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5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80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7" name="Rectangle 26"/>
          <p:cNvSpPr/>
          <p:nvPr/>
        </p:nvSpPr>
        <p:spPr>
          <a:xfrm>
            <a:off x="10876225" y="98632"/>
            <a:ext cx="1220441" cy="66607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51" tIns="45726" rIns="91451" bIns="45726" rtlCol="0" anchor="ctr"/>
          <a:lstStyle/>
          <a:p>
            <a:pPr marL="0" marR="0" lvl="0" indent="0" algn="ctr" defTabSz="9145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81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10" hasCustomPrompt="1"/>
          </p:nvPr>
        </p:nvSpPr>
        <p:spPr>
          <a:xfrm>
            <a:off x="656289" y="4464115"/>
            <a:ext cx="8616694" cy="1188750"/>
          </a:xfrm>
        </p:spPr>
        <p:txBody>
          <a:bodyPr>
            <a:noAutofit/>
          </a:bodyPr>
          <a:lstStyle>
            <a:lvl1pPr marL="0" indent="0">
              <a:buNone/>
              <a:defRPr sz="1406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Speaker / Organization / 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F5A4943-D4E5-A441-BC92-3A04E086C5E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7431" y="128336"/>
            <a:ext cx="2176445" cy="587677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10876225" y="98632"/>
            <a:ext cx="1220441" cy="66607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51" tIns="45726" rIns="91451" bIns="45726" rtlCol="0" anchor="ctr"/>
          <a:lstStyle/>
          <a:p>
            <a:pPr marL="0" marR="0" lvl="0" indent="0" algn="ctr" defTabSz="9145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81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F5A4943-D4E5-A441-BC92-3A04E086C5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7431" y="128336"/>
            <a:ext cx="2176445" cy="5876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36647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2566" y="1699617"/>
            <a:ext cx="10557883" cy="3985617"/>
          </a:xfrm>
        </p:spPr>
        <p:txBody>
          <a:bodyPr/>
          <a:lstStyle>
            <a:lvl1pPr>
              <a:defRPr sz="1500">
                <a:solidFill>
                  <a:schemeClr val="bg2">
                    <a:lumMod val="50000"/>
                  </a:schemeClr>
                </a:solidFill>
              </a:defRPr>
            </a:lvl1pPr>
            <a:lvl2pPr>
              <a:defRPr sz="1500">
                <a:solidFill>
                  <a:schemeClr val="bg2">
                    <a:lumMod val="50000"/>
                  </a:schemeClr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662567" y="2187775"/>
            <a:ext cx="3199358" cy="3497461"/>
          </a:xfrm>
        </p:spPr>
        <p:txBody>
          <a:bodyPr tIns="91440"/>
          <a:lstStyle>
            <a:lvl1pPr marL="128588" indent="-128588">
              <a:lnSpc>
                <a:spcPct val="114000"/>
              </a:lnSpc>
              <a:spcBef>
                <a:spcPts val="0"/>
              </a:spcBef>
              <a:defRPr sz="1313">
                <a:solidFill>
                  <a:schemeClr val="bg2">
                    <a:lumMod val="50000"/>
                  </a:schemeClr>
                </a:solidFill>
              </a:defRPr>
            </a:lvl1pPr>
            <a:lvl2pPr marL="300038" indent="-171450">
              <a:lnSpc>
                <a:spcPct val="114000"/>
              </a:lnSpc>
              <a:spcBef>
                <a:spcPts val="0"/>
              </a:spcBef>
              <a:defRPr sz="1313">
                <a:solidFill>
                  <a:schemeClr val="bg2">
                    <a:lumMod val="50000"/>
                  </a:schemeClr>
                </a:solidFill>
              </a:defRPr>
            </a:lvl2pPr>
            <a:lvl3pPr marL="548640" indent="-162878">
              <a:lnSpc>
                <a:spcPct val="114000"/>
              </a:lnSpc>
              <a:spcBef>
                <a:spcPts val="0"/>
              </a:spcBef>
              <a:defRPr sz="1125"/>
            </a:lvl3pPr>
            <a:lvl4pPr>
              <a:lnSpc>
                <a:spcPct val="114000"/>
              </a:lnSpc>
              <a:spcBef>
                <a:spcPts val="0"/>
              </a:spcBef>
              <a:defRPr sz="1219"/>
            </a:lvl4pPr>
            <a:lvl5pPr>
              <a:lnSpc>
                <a:spcPct val="114000"/>
              </a:lnSpc>
              <a:spcBef>
                <a:spcPts val="0"/>
              </a:spcBef>
              <a:defRPr sz="1219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8021091" y="2187775"/>
            <a:ext cx="3199358" cy="3497461"/>
          </a:xfrm>
        </p:spPr>
        <p:txBody>
          <a:bodyPr tIns="91440"/>
          <a:lstStyle>
            <a:lvl1pPr marL="128588" indent="-128588">
              <a:defRPr sz="1313">
                <a:solidFill>
                  <a:schemeClr val="bg2">
                    <a:lumMod val="50000"/>
                  </a:schemeClr>
                </a:solidFill>
              </a:defRPr>
            </a:lvl1pPr>
            <a:lvl2pPr marL="300038" indent="-171450">
              <a:defRPr sz="1313">
                <a:solidFill>
                  <a:schemeClr val="bg2">
                    <a:lumMod val="50000"/>
                  </a:schemeClr>
                </a:solidFill>
              </a:defRPr>
            </a:lvl2pPr>
            <a:lvl3pPr marL="548640" indent="-162878">
              <a:defRPr sz="1125"/>
            </a:lvl3pPr>
            <a:lvl4pPr>
              <a:defRPr sz="1219"/>
            </a:lvl4pPr>
            <a:lvl5pPr>
              <a:defRPr sz="1219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2"/>
          </p:nvPr>
        </p:nvSpPr>
        <p:spPr>
          <a:xfrm>
            <a:off x="4341829" y="2187775"/>
            <a:ext cx="3199358" cy="3497461"/>
          </a:xfrm>
        </p:spPr>
        <p:txBody>
          <a:bodyPr tIns="91440"/>
          <a:lstStyle>
            <a:lvl1pPr marL="128588" indent="-128588">
              <a:lnSpc>
                <a:spcPct val="114000"/>
              </a:lnSpc>
              <a:spcBef>
                <a:spcPts val="0"/>
              </a:spcBef>
              <a:defRPr sz="1313">
                <a:solidFill>
                  <a:schemeClr val="bg2">
                    <a:lumMod val="50000"/>
                  </a:schemeClr>
                </a:solidFill>
              </a:defRPr>
            </a:lvl1pPr>
            <a:lvl2pPr marL="300038" indent="-171450">
              <a:lnSpc>
                <a:spcPct val="114000"/>
              </a:lnSpc>
              <a:spcBef>
                <a:spcPts val="0"/>
              </a:spcBef>
              <a:defRPr sz="1313">
                <a:solidFill>
                  <a:schemeClr val="bg2">
                    <a:lumMod val="50000"/>
                  </a:schemeClr>
                </a:solidFill>
              </a:defRPr>
            </a:lvl2pPr>
            <a:lvl3pPr marL="548640" indent="-162878">
              <a:lnSpc>
                <a:spcPct val="114000"/>
              </a:lnSpc>
              <a:spcBef>
                <a:spcPts val="0"/>
              </a:spcBef>
              <a:defRPr sz="1125"/>
            </a:lvl3pPr>
            <a:lvl4pPr>
              <a:lnSpc>
                <a:spcPct val="114000"/>
              </a:lnSpc>
              <a:spcBef>
                <a:spcPts val="0"/>
              </a:spcBef>
              <a:defRPr sz="1219"/>
            </a:lvl4pPr>
            <a:lvl5pPr>
              <a:lnSpc>
                <a:spcPct val="114000"/>
              </a:lnSpc>
              <a:spcBef>
                <a:spcPts val="0"/>
              </a:spcBef>
              <a:defRPr sz="1219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70C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F5A4943-D4E5-A441-BC92-3A04E086C5E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05" r="78419"/>
          <a:stretch/>
        </p:blipFill>
        <p:spPr>
          <a:xfrm>
            <a:off x="11601580" y="83099"/>
            <a:ext cx="469698" cy="56649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F5A4943-D4E5-A441-BC92-3A04E086C5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05" r="78419"/>
          <a:stretch/>
        </p:blipFill>
        <p:spPr>
          <a:xfrm>
            <a:off x="11601580" y="83099"/>
            <a:ext cx="469698" cy="566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99801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3025" y="172743"/>
            <a:ext cx="10363200" cy="369332"/>
          </a:xfrm>
        </p:spPr>
        <p:txBody>
          <a:bodyPr tIns="0" bIns="0" anchor="t">
            <a:spAutoFit/>
          </a:bodyPr>
          <a:lstStyle>
            <a:lvl1pPr algn="l">
              <a:defRPr sz="2400" b="1" cap="none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"/>
          <p:cNvSpPr/>
          <p:nvPr/>
        </p:nvSpPr>
        <p:spPr>
          <a:xfrm>
            <a:off x="10876225" y="98632"/>
            <a:ext cx="1220441" cy="10941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51" tIns="45726" rIns="91451" bIns="45726" rtlCol="0" anchor="ctr"/>
          <a:lstStyle/>
          <a:p>
            <a:pPr marL="0" marR="0" lvl="0" indent="0" algn="ctr" defTabSz="9145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81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F5A4943-D4E5-A441-BC92-3A04E086C5E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05" r="78419"/>
          <a:stretch/>
        </p:blipFill>
        <p:spPr>
          <a:xfrm>
            <a:off x="11601580" y="83099"/>
            <a:ext cx="469698" cy="566492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10876225" y="98632"/>
            <a:ext cx="1220441" cy="10941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51" tIns="45726" rIns="91451" bIns="45726" rtlCol="0" anchor="ctr"/>
          <a:lstStyle/>
          <a:p>
            <a:pPr marL="0" marR="0" lvl="0" indent="0" algn="ctr" defTabSz="9145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81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31494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">
          <p15:clr>
            <a:srgbClr val="FBAE40"/>
          </p15:clr>
        </p15:guide>
        <p15:guide id="2" pos="3840">
          <p15:clr>
            <a:srgbClr val="FBAE40"/>
          </p15:clr>
        </p15:guide>
        <p15:guide id="3" pos="31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10502954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cxnSp>
        <p:nvCxnSpPr>
          <p:cNvPr id="16" name="TopLineRight">
            <a:extLst>
              <a:ext uri="{FF2B5EF4-FFF2-40B4-BE49-F238E27FC236}">
                <a16:creationId xmlns:a16="http://schemas.microsoft.com/office/drawing/2014/main" id="{0925431E-93BB-4CAF-8412-89898F216A82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27886" y="937377"/>
            <a:ext cx="11064240" cy="0"/>
          </a:xfrm>
          <a:prstGeom prst="line">
            <a:avLst/>
          </a:prstGeom>
          <a:ln w="6350">
            <a:solidFill>
              <a:srgbClr val="000000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671114" y="660633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Title 1"/>
          <p:cNvSpPr txBox="1">
            <a:spLocks/>
          </p:cNvSpPr>
          <p:nvPr userDrawn="1"/>
        </p:nvSpPr>
        <p:spPr>
          <a:xfrm>
            <a:off x="513025" y="190676"/>
            <a:ext cx="1036320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514" rtl="0" eaLnBrk="1" latinLnBrk="0" hangingPunct="1">
              <a:spcBef>
                <a:spcPct val="0"/>
              </a:spcBef>
              <a:buNone/>
              <a:defRPr sz="2400" b="1" kern="1200" cap="none" baseline="0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51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+mj-cs"/>
              </a:rPr>
              <a:t>Click to edit Master title style</a:t>
            </a:r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63701" y="1024020"/>
            <a:ext cx="9933970" cy="31579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>
                    <a:lumMod val="75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28168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cxnSp>
        <p:nvCxnSpPr>
          <p:cNvPr id="16" name="TopLineRight">
            <a:extLst>
              <a:ext uri="{FF2B5EF4-FFF2-40B4-BE49-F238E27FC236}">
                <a16:creationId xmlns:a16="http://schemas.microsoft.com/office/drawing/2014/main" id="{0925431E-93BB-4CAF-8412-89898F216A82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27886" y="937377"/>
            <a:ext cx="11064240" cy="0"/>
          </a:xfrm>
          <a:prstGeom prst="line">
            <a:avLst/>
          </a:prstGeom>
          <a:ln w="6350">
            <a:solidFill>
              <a:srgbClr val="000000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671114" y="660633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63701" y="1024020"/>
            <a:ext cx="9933970" cy="31579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>
                    <a:lumMod val="75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01920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 sz="240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514600" cy="63158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>
                    <a:lumMod val="75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772DBDA-FB37-4E42-BF1B-A630FCA6154F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bg2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TopLineRight">
            <a:extLst>
              <a:ext uri="{FF2B5EF4-FFF2-40B4-BE49-F238E27FC236}">
                <a16:creationId xmlns:a16="http://schemas.microsoft.com/office/drawing/2014/main" id="{0925431E-93BB-4CAF-8412-89898F216A8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9322" y="937377"/>
            <a:ext cx="7918704" cy="0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Left">
            <a:extLst>
              <a:ext uri="{FF2B5EF4-FFF2-40B4-BE49-F238E27FC236}">
                <a16:creationId xmlns:a16="http://schemas.microsoft.com/office/drawing/2014/main" id="{D19401A5-72E5-4C46-8FAA-8600CAC4127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937377"/>
            <a:ext cx="2514600" cy="0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671114" y="660633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703152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 sz="240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514600" cy="63158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>
                    <a:lumMod val="75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772DBDA-FB37-4E42-BF1B-A630FCA6154F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bg2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Left">
            <a:extLst>
              <a:ext uri="{FF2B5EF4-FFF2-40B4-BE49-F238E27FC236}">
                <a16:creationId xmlns:a16="http://schemas.microsoft.com/office/drawing/2014/main" id="{D19401A5-72E5-4C46-8FAA-8600CAC4127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937377"/>
            <a:ext cx="2514600" cy="0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671114" y="660633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828053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 sz="240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5" y="3659644"/>
            <a:ext cx="3465575" cy="31579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>
                    <a:lumMod val="75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D6D9AAC-8287-4317-918C-6755B5E17803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bg2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Left">
            <a:extLst>
              <a:ext uri="{FF2B5EF4-FFF2-40B4-BE49-F238E27FC236}">
                <a16:creationId xmlns:a16="http://schemas.microsoft.com/office/drawing/2014/main" id="{04B50E07-5CF6-4FA4-80C0-5A97640377DD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937377"/>
            <a:ext cx="3465576" cy="0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671114" y="660633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934344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671114" y="660633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485150"/>
            <a:ext cx="5065776" cy="418582"/>
          </a:xfrm>
        </p:spPr>
        <p:txBody>
          <a:bodyPr>
            <a:sp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8" y="976471"/>
            <a:ext cx="5065776" cy="31579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281C890-544A-4E72-8093-FD345BC9BA7E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bg2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TopLineRight">
            <a:extLst>
              <a:ext uri="{FF2B5EF4-FFF2-40B4-BE49-F238E27FC236}">
                <a16:creationId xmlns:a16="http://schemas.microsoft.com/office/drawing/2014/main" id="{4621481D-27E5-4F87-B45B-41DC18907499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937377"/>
            <a:ext cx="5065776" cy="0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TopLineLeft">
            <a:extLst>
              <a:ext uri="{FF2B5EF4-FFF2-40B4-BE49-F238E27FC236}">
                <a16:creationId xmlns:a16="http://schemas.microsoft.com/office/drawing/2014/main" id="{29C45080-F0A3-4994-8BE9-0C272784001F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937377"/>
            <a:ext cx="5065776" cy="0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0324EE6-02E1-4789-BCBA-CEC16E7B160F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937377"/>
            <a:ext cx="5065776" cy="0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090036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572" imgH="588" progId="TCLayout.ActiveDocument.1">
                  <p:embed/>
                </p:oleObj>
              </mc:Choice>
              <mc:Fallback>
                <p:oleObj name="think-cell Slide" r:id="rId13" imgW="572" imgH="588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85150"/>
            <a:ext cx="6967728" cy="418582"/>
          </a:xfrm>
        </p:spPr>
        <p:txBody>
          <a:bodyPr>
            <a:sp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8" y="976471"/>
            <a:ext cx="6967728" cy="31579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726724E-39EB-4427-A8AA-44412DA77211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bg2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Right">
            <a:extLst>
              <a:ext uri="{FF2B5EF4-FFF2-40B4-BE49-F238E27FC236}">
                <a16:creationId xmlns:a16="http://schemas.microsoft.com/office/drawing/2014/main" id="{283AA53C-33A4-4DA5-9E72-12C2883CAF2A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1" y="937377"/>
            <a:ext cx="3465576" cy="0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TopLineLeft">
            <a:extLst>
              <a:ext uri="{FF2B5EF4-FFF2-40B4-BE49-F238E27FC236}">
                <a16:creationId xmlns:a16="http://schemas.microsoft.com/office/drawing/2014/main" id="{D0F7ADBC-6D86-4EAD-85BB-DADD184C60BD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937377"/>
            <a:ext cx="6967728" cy="0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6E3AEA7-76E4-4DBB-B219-BB82D650A1EE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937377"/>
            <a:ext cx="6967728" cy="0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11"/>
            </p:custDataLst>
          </p:nvPr>
        </p:nvSpPr>
        <p:spPr bwMode="black">
          <a:xfrm>
            <a:off x="11671114" y="660633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5" name="Footer Placeholder 5">
            <a:extLst>
              <a:ext uri="{FF2B5EF4-FFF2-40B4-BE49-F238E27FC236}">
                <a16:creationId xmlns:a16="http://schemas.microsoft.com/office/drawing/2014/main" id="{5C41599A-8B2D-4A1E-BD19-DCE48FA92F66}"/>
              </a:ext>
            </a:extLst>
          </p:cNvPr>
          <p:cNvSpPr txBox="1">
            <a:spLocks/>
          </p:cNvSpPr>
          <p:nvPr userDrawn="1"/>
        </p:nvSpPr>
        <p:spPr>
          <a:xfrm>
            <a:off x="10108413" y="6615294"/>
            <a:ext cx="1615828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erozsons Laboratories Limited</a:t>
            </a:r>
          </a:p>
        </p:txBody>
      </p:sp>
    </p:spTree>
    <p:extLst>
      <p:ext uri="{BB962C8B-B14F-4D97-AF65-F5344CB8AC3E}">
        <p14:creationId xmlns:p14="http://schemas.microsoft.com/office/powerpoint/2010/main" val="913587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6">
          <p15:clr>
            <a:srgbClr val="FBAE40"/>
          </p15:clr>
        </p15:guide>
        <p15:guide id="2" pos="3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13" imgH="416" progId="TCLayout.ActiveDocument.1">
                  <p:embed/>
                </p:oleObj>
              </mc:Choice>
              <mc:Fallback>
                <p:oleObj name="think-cell Slide" r:id="rId12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85150"/>
            <a:ext cx="7918704" cy="418582"/>
          </a:xfrm>
        </p:spPr>
        <p:txBody>
          <a:bodyPr>
            <a:sp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8" y="976471"/>
            <a:ext cx="7918704" cy="31579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AAD7185-9C2E-470E-957D-B21838859294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bg2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0201B559-53A5-4D8D-8C98-7ED52ACCCCB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9119861" y="937377"/>
            <a:ext cx="2514600" cy="0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1BA93093-D8C7-45C3-AAB7-AF77483A929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937377"/>
            <a:ext cx="7918704" cy="0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black">
          <a:xfrm>
            <a:off x="11671114" y="660633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842368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79" y="0"/>
            <a:ext cx="12191842" cy="6858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51" tIns="45726" rIns="91451" bIns="45726" rtlCol="0" anchor="ctr"/>
          <a:lstStyle/>
          <a:p>
            <a:pPr marL="0" marR="0" lvl="0" indent="0" algn="ctr" defTabSz="9145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81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79" y="0"/>
            <a:ext cx="12191842" cy="6858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51" tIns="45726" rIns="91451" bIns="45726" rtlCol="0" anchor="ctr"/>
          <a:lstStyle/>
          <a:p>
            <a:pPr marL="0" marR="0" lvl="0" indent="0" algn="ctr" defTabSz="9145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81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54736" y="172212"/>
            <a:ext cx="10160065" cy="73152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449346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B2BB598-2691-4D01-A539-1D662EC06D72}"/>
              </a:ext>
            </a:extLst>
          </p:cNvPr>
          <p:cNvSpPr/>
          <p:nvPr userDrawn="1"/>
        </p:nvSpPr>
        <p:spPr>
          <a:xfrm>
            <a:off x="3176" y="2423161"/>
            <a:ext cx="12188824" cy="443484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ABE5ED7-62AC-442E-9D78-2775559457BD}"/>
              </a:ext>
            </a:extLst>
          </p:cNvPr>
          <p:cNvSpPr/>
          <p:nvPr userDrawn="1"/>
        </p:nvSpPr>
        <p:spPr>
          <a:xfrm>
            <a:off x="3176" y="2171700"/>
            <a:ext cx="12188824" cy="186085"/>
          </a:xfrm>
          <a:prstGeom prst="rect">
            <a:avLst/>
          </a:prstGeom>
          <a:solidFill>
            <a:srgbClr val="C3922E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Picture 288">
            <a:extLst>
              <a:ext uri="{FF2B5EF4-FFF2-40B4-BE49-F238E27FC236}">
                <a16:creationId xmlns:a16="http://schemas.microsoft.com/office/drawing/2014/main" id="{2E9A1374-6D6B-48DC-8224-75381AE2478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48888" y="257899"/>
            <a:ext cx="1557672" cy="1599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5369239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47688" y="4951630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4153476"/>
            <a:ext cx="9726795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CDF1E86B-230A-4AE3-92EE-18802C00ED66}"/>
              </a:ext>
            </a:extLst>
          </p:cNvPr>
          <p:cNvSpPr txBox="1">
            <a:spLocks/>
          </p:cNvSpPr>
          <p:nvPr userDrawn="1"/>
        </p:nvSpPr>
        <p:spPr>
          <a:xfrm>
            <a:off x="547688" y="903956"/>
            <a:ext cx="4502836" cy="3077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overnment of Khyber Pakhtunkhwa</a:t>
            </a:r>
          </a:p>
        </p:txBody>
      </p:sp>
    </p:spTree>
    <p:extLst>
      <p:ext uri="{BB962C8B-B14F-4D97-AF65-F5344CB8AC3E}">
        <p14:creationId xmlns:p14="http://schemas.microsoft.com/office/powerpoint/2010/main" val="20342560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3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62726736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7" y="103152"/>
            <a:ext cx="10160065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45938280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23456178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92018654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58052587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34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29124598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5C41599A-8B2D-4A1E-BD19-DCE48FA92F66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overnment of Khyber Pakhtunkhwa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8" name="TopLineLeft">
            <a:extLst>
              <a:ext uri="{FF2B5EF4-FFF2-40B4-BE49-F238E27FC236}">
                <a16:creationId xmlns:a16="http://schemas.microsoft.com/office/drawing/2014/main" id="{D19401A5-72E5-4C46-8FAA-8600CAC4127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937377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270594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13" imgH="416" progId="TCLayout.ActiveDocument.1">
                  <p:embed/>
                </p:oleObj>
              </mc:Choice>
              <mc:Fallback>
                <p:oleObj name="think-cell Slide" r:id="rId12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288">
            <a:extLst>
              <a:ext uri="{FF2B5EF4-FFF2-40B4-BE49-F238E27FC236}">
                <a16:creationId xmlns:a16="http://schemas.microsoft.com/office/drawing/2014/main" id="{FD1F626C-A86C-4520-A582-147DA197EBF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494" y="74067"/>
            <a:ext cx="837450" cy="860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BFAF0B23-BF46-42E3-9C8D-062896DC1F39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overnment of Khyber Pakhtunkhwa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6" name="TopLineRight">
            <a:extLst>
              <a:ext uri="{FF2B5EF4-FFF2-40B4-BE49-F238E27FC236}">
                <a16:creationId xmlns:a16="http://schemas.microsoft.com/office/drawing/2014/main" id="{4BCEE20B-068B-4409-9929-C9F6EFDCE7C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937377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Left">
            <a:extLst>
              <a:ext uri="{FF2B5EF4-FFF2-40B4-BE49-F238E27FC236}">
                <a16:creationId xmlns:a16="http://schemas.microsoft.com/office/drawing/2014/main" id="{04B50E07-5CF6-4FA4-80C0-5A97640377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937377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708745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519011"/>
            <a:ext cx="5065776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8" y="976471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288">
            <a:extLst>
              <a:ext uri="{FF2B5EF4-FFF2-40B4-BE49-F238E27FC236}">
                <a16:creationId xmlns:a16="http://schemas.microsoft.com/office/drawing/2014/main" id="{71C1E2E7-775A-4A1D-B5DE-019923E5B12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494" y="74067"/>
            <a:ext cx="837450" cy="860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390BA6A6-D622-40EC-8EE4-FAF115321C41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overnment of Khyber Pakhtunkhwa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7" name="TopLineRight">
            <a:extLst>
              <a:ext uri="{FF2B5EF4-FFF2-40B4-BE49-F238E27FC236}">
                <a16:creationId xmlns:a16="http://schemas.microsoft.com/office/drawing/2014/main" id="{4621481D-27E5-4F87-B45B-41DC18907499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937377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TopLineLeft">
            <a:extLst>
              <a:ext uri="{FF2B5EF4-FFF2-40B4-BE49-F238E27FC236}">
                <a16:creationId xmlns:a16="http://schemas.microsoft.com/office/drawing/2014/main" id="{29C45080-F0A3-4994-8BE9-0C272784001F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937377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0324EE6-02E1-4789-BCBA-CEC16E7B160F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937377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228860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572" imgH="588" progId="TCLayout.ActiveDocument.1">
                  <p:embed/>
                </p:oleObj>
              </mc:Choice>
              <mc:Fallback>
                <p:oleObj name="think-cell Slide" r:id="rId13" imgW="572" imgH="588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19011"/>
            <a:ext cx="6967728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8" y="976471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288">
            <a:extLst>
              <a:ext uri="{FF2B5EF4-FFF2-40B4-BE49-F238E27FC236}">
                <a16:creationId xmlns:a16="http://schemas.microsoft.com/office/drawing/2014/main" id="{1E14135B-FDDE-49D3-B6D7-1BDC242495B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494" y="74067"/>
            <a:ext cx="837450" cy="860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7EDB617A-2990-4053-9520-0F5D1D976262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overnment of Khyber Pakhtunkhwa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8" name="TopLineRight">
            <a:extLst>
              <a:ext uri="{FF2B5EF4-FFF2-40B4-BE49-F238E27FC236}">
                <a16:creationId xmlns:a16="http://schemas.microsoft.com/office/drawing/2014/main" id="{283AA53C-33A4-4DA5-9E72-12C2883CAF2A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937377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TopLineLeft">
            <a:extLst>
              <a:ext uri="{FF2B5EF4-FFF2-40B4-BE49-F238E27FC236}">
                <a16:creationId xmlns:a16="http://schemas.microsoft.com/office/drawing/2014/main" id="{D0F7ADBC-6D86-4EAD-85BB-DADD184C60B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937377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6E3AEA7-76E4-4DBB-B219-BB82D650A1EE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937377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622856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13" imgH="416" progId="TCLayout.ActiveDocument.1">
                  <p:embed/>
                </p:oleObj>
              </mc:Choice>
              <mc:Fallback>
                <p:oleObj name="think-cell Slide" r:id="rId12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519011"/>
            <a:ext cx="7918704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8" y="976471"/>
            <a:ext cx="791870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288">
            <a:extLst>
              <a:ext uri="{FF2B5EF4-FFF2-40B4-BE49-F238E27FC236}">
                <a16:creationId xmlns:a16="http://schemas.microsoft.com/office/drawing/2014/main" id="{A11DBEA6-99D6-418E-8F15-09398E5B063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494" y="74067"/>
            <a:ext cx="837450" cy="860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4A1B6220-01F0-438D-8C94-91F67AF369FA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overnment of Khyber Pakhtunkhwa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0201B559-53A5-4D8D-8C98-7ED52ACCCCB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937377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1BA93093-D8C7-45C3-AAB7-AF77483A929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937377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689652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772DBDA-FB37-4E42-BF1B-A630FCA6154F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Left">
            <a:extLst>
              <a:ext uri="{FF2B5EF4-FFF2-40B4-BE49-F238E27FC236}">
                <a16:creationId xmlns:a16="http://schemas.microsoft.com/office/drawing/2014/main" id="{D19401A5-72E5-4C46-8FAA-8600CAC4127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937377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644824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521970"/>
            <a:ext cx="10160065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288">
            <a:extLst>
              <a:ext uri="{FF2B5EF4-FFF2-40B4-BE49-F238E27FC236}">
                <a16:creationId xmlns:a16="http://schemas.microsoft.com/office/drawing/2014/main" id="{E8F69406-48F2-46A3-A50D-5BDA8951AA4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494" y="74067"/>
            <a:ext cx="837450" cy="860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C81710A1-E76E-4D4C-8BF7-33FCC7414A62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overnment of Khyber Pakhtunkhwa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764F4EC-8126-41DB-9F1E-559D1F1F1FCC}"/>
              </a:ext>
            </a:extLst>
          </p:cNvPr>
          <p:cNvCxnSpPr>
            <a:cxnSpLocks/>
          </p:cNvCxnSpPr>
          <p:nvPr userDrawn="1"/>
        </p:nvCxnSpPr>
        <p:spPr>
          <a:xfrm>
            <a:off x="554736" y="937377"/>
            <a:ext cx="11089576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497651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88">
            <a:extLst>
              <a:ext uri="{FF2B5EF4-FFF2-40B4-BE49-F238E27FC236}">
                <a16:creationId xmlns:a16="http://schemas.microsoft.com/office/drawing/2014/main" id="{C523E553-160B-4F97-BE36-F6D7F3C14D2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933" y="2233287"/>
            <a:ext cx="2212614" cy="2272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00483624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">
    <p:bg>
      <p:bgPr>
        <a:solidFill>
          <a:schemeClr val="accent6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67297108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6460554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9688310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3261" y="235072"/>
            <a:ext cx="11725484" cy="3768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5077846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91726" y="2178635"/>
            <a:ext cx="6714779" cy="507831"/>
          </a:xfr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en-GB" noProof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91726" y="3945699"/>
            <a:ext cx="6714779" cy="219820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6005363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125" y="-86299"/>
            <a:ext cx="11334750" cy="701673"/>
          </a:xfrm>
        </p:spPr>
        <p:txBody>
          <a:bodyPr>
            <a:normAutofit/>
          </a:bodyPr>
          <a:lstStyle>
            <a:lvl1pPr>
              <a:defRPr sz="4000">
                <a:solidFill>
                  <a:srgbClr val="275C26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9100" y="1577976"/>
            <a:ext cx="11334750" cy="4613274"/>
          </a:xfrm>
        </p:spPr>
        <p:txBody>
          <a:bodyPr/>
          <a:lstStyle>
            <a:lvl1pPr>
              <a:buClr>
                <a:schemeClr val="accent6">
                  <a:lumMod val="50000"/>
                </a:schemeClr>
              </a:buClr>
              <a:defRPr/>
            </a:lvl1pPr>
            <a:lvl2pPr marL="685800" indent="-252000">
              <a:buClr>
                <a:schemeClr val="accent6">
                  <a:lumMod val="50000"/>
                </a:schemeClr>
              </a:buClr>
              <a:buFont typeface="Symbol" panose="05050102010706020507" pitchFamily="18" charset="2"/>
              <a:buChar char=""/>
              <a:defRPr/>
            </a:lvl2pPr>
            <a:lvl3pPr>
              <a:buClr>
                <a:schemeClr val="accent6">
                  <a:lumMod val="50000"/>
                </a:schemeClr>
              </a:buClr>
              <a:defRPr/>
            </a:lvl3pPr>
            <a:lvl4pPr>
              <a:buClr>
                <a:schemeClr val="accent6">
                  <a:lumMod val="50000"/>
                </a:schemeClr>
              </a:buClr>
              <a:defRPr/>
            </a:lvl4pPr>
            <a:lvl5pPr>
              <a:buClr>
                <a:schemeClr val="accent6">
                  <a:lumMod val="50000"/>
                </a:schemeClr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191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9BE070-0B18-4ECB-A718-B776B5088A2C}" type="datetimeFigureOut">
              <a:rPr kumimoji="0" lang="en-GB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/05/2025</a:t>
            </a:fld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010650" y="6359525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CC9F4F-EA36-4B42-8EE7-919FA8C3AD41}" type="slidenum">
              <a:rPr kumimoji="0" lang="en-GB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68EA9D27-C3C6-4C3E-89DD-D85EC3E459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9100" y="962025"/>
            <a:ext cx="11334750" cy="512763"/>
          </a:xfrm>
        </p:spPr>
        <p:txBody>
          <a:bodyPr>
            <a:normAutofit/>
          </a:bodyPr>
          <a:lstStyle>
            <a:lvl1pPr marL="0" indent="0">
              <a:buNone/>
              <a:defRPr sz="2400" i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378190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7" y="172212"/>
            <a:ext cx="10160065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8" y="976471"/>
            <a:ext cx="10160065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15338901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13" imgH="416" progId="TCLayout.ActiveDocument.1">
                  <p:embed/>
                </p:oleObj>
              </mc:Choice>
              <mc:Fallback>
                <p:oleObj name="think-cell Slide" r:id="rId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7" y="172212"/>
            <a:ext cx="10160065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1095717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13" imgH="416" progId="TCLayout.ActiveDocument.1">
                  <p:embed/>
                </p:oleObj>
              </mc:Choice>
              <mc:Fallback>
                <p:oleObj name="think-cell Slide" r:id="rId12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D6D9AAC-8287-4317-918C-6755B5E17803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TopLineRight">
            <a:extLst>
              <a:ext uri="{FF2B5EF4-FFF2-40B4-BE49-F238E27FC236}">
                <a16:creationId xmlns:a16="http://schemas.microsoft.com/office/drawing/2014/main" id="{4BCEE20B-068B-4409-9929-C9F6EFDCE7C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937377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Left">
            <a:extLst>
              <a:ext uri="{FF2B5EF4-FFF2-40B4-BE49-F238E27FC236}">
                <a16:creationId xmlns:a16="http://schemas.microsoft.com/office/drawing/2014/main" id="{04B50E07-5CF6-4FA4-80C0-5A97640377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937377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91754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34844936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F6A04C-A2F5-E24C-A894-A4E1BC71893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PK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84232EC-2201-4B47-818B-7C5C21302F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P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5D09A3-674F-0B46-BD15-D77B19038D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715BCD-AD48-2742-AC15-671E61DEDAD1}" type="datetimeFigureOut">
              <a:rPr kumimoji="0" lang="en-P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/31/2025</a:t>
            </a:fld>
            <a:endParaRPr kumimoji="0" lang="en-PK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3C42EF-E02E-BF49-8BA7-D543A43308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K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854923-2C5F-7E4E-B02A-0BC570E4DF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36449F-D3AD-5A45-9B10-51943849B92B}" type="slidenum">
              <a:rPr kumimoji="0" lang="en-P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PK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395879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FFE9E5-FDAA-104D-A526-C59723C52D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PK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10A87C-F44B-404A-AD97-87AAD77231C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P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EBD5E3-6C5D-8642-B7C8-F4A4166324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715BCD-AD48-2742-AC15-671E61DEDAD1}" type="datetimeFigureOut">
              <a:rPr kumimoji="0" lang="en-P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/31/2025</a:t>
            </a:fld>
            <a:endParaRPr kumimoji="0" lang="en-PK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F18F97-9067-B24E-82E3-6D05F75FE9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K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AAAC9E-5A23-5641-B64C-3E020631F9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36449F-D3AD-5A45-9B10-51943849B92B}" type="slidenum">
              <a:rPr kumimoji="0" lang="en-P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PK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597415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275F18-1804-4647-8157-4BBA7BD7FA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PK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3A4C0D-930D-B144-AA8C-AD9D61FB14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E38BDE-C1E0-864B-BC45-4F3E59844F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715BCD-AD48-2742-AC15-671E61DEDAD1}" type="datetimeFigureOut">
              <a:rPr kumimoji="0" lang="en-P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/31/2025</a:t>
            </a:fld>
            <a:endParaRPr kumimoji="0" lang="en-PK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799BB2-1A00-F74B-823C-9EE422E215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K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6E8E8EB-F66C-4048-85D3-61F5936FCA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36449F-D3AD-5A45-9B10-51943849B92B}" type="slidenum">
              <a:rPr kumimoji="0" lang="en-P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PK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54575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468982-DC41-074B-AB40-87B3C9594D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PK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4EB70CD-6CAC-094F-B4AE-B59F06744CD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PK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B5695AC-1C89-D245-84B6-D86B43899C6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PK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ED26F97-2D95-6F48-AD44-C13AE1B35A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715BCD-AD48-2742-AC15-671E61DEDAD1}" type="datetimeFigureOut">
              <a:rPr kumimoji="0" lang="en-P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/31/2025</a:t>
            </a:fld>
            <a:endParaRPr kumimoji="0" lang="en-PK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AC87C57-E90A-0E4B-B537-17E336D3C1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K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9530A5-839E-8B4A-8A9A-AA671BB2EE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36449F-D3AD-5A45-9B10-51943849B92B}" type="slidenum">
              <a:rPr kumimoji="0" lang="en-P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PK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180773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6BDC69-AA61-7542-B5F9-FDBF55C648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PK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7EAF79-2CCF-854E-92D6-B300CA31F41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97C39E4-F40C-5748-B819-F105A7D1274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PK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D53D65-4477-F341-AD61-5EBE1D50FCA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CEB7D05-DD9A-B34B-9F51-155A1C1F785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PK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88A43AE-1989-D74E-A104-56120049C1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715BCD-AD48-2742-AC15-671E61DEDAD1}" type="datetimeFigureOut">
              <a:rPr kumimoji="0" lang="en-P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/31/2025</a:t>
            </a:fld>
            <a:endParaRPr kumimoji="0" lang="en-PK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70F9417-B179-254A-A651-F9D70914F5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K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7C5529D-F17C-6746-AA03-995E2043DA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36449F-D3AD-5A45-9B10-51943849B92B}" type="slidenum">
              <a:rPr kumimoji="0" lang="en-P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PK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206168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5424CC-93FB-C347-8E34-5A4F3DFBAC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PK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DAD1F6D-EDDD-0A4F-AFDE-08F2522C5E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715BCD-AD48-2742-AC15-671E61DEDAD1}" type="datetimeFigureOut">
              <a:rPr kumimoji="0" lang="en-P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/31/2025</a:t>
            </a:fld>
            <a:endParaRPr kumimoji="0" lang="en-PK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36BE30E-6926-794A-9A1A-C1B74E210B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K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5FE6D21-07EE-0A41-910F-1B7C134622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36449F-D3AD-5A45-9B10-51943849B92B}" type="slidenum">
              <a:rPr kumimoji="0" lang="en-P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PK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548850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1A68626-7E4F-0B4B-9B64-7E3528E60D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715BCD-AD48-2742-AC15-671E61DEDAD1}" type="datetimeFigureOut">
              <a:rPr kumimoji="0" lang="en-P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/31/2025</a:t>
            </a:fld>
            <a:endParaRPr kumimoji="0" lang="en-PK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F95CA9-55B7-8F48-8EEB-14F52A5570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K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19897D-D531-3C40-BEF5-90D6634196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36449F-D3AD-5A45-9B10-51943849B92B}" type="slidenum">
              <a:rPr kumimoji="0" lang="en-P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PK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688140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93DF9F-3974-8941-84E6-DE30D8EA2A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PK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D7ED6F-D90F-F94E-A570-075B9D1F96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P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3F33F6A-9CED-EE41-8ADA-4682DEDAB86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7AC9375-B50A-1E44-8B53-2A0C6859FF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715BCD-AD48-2742-AC15-671E61DEDAD1}" type="datetimeFigureOut">
              <a:rPr kumimoji="0" lang="en-P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/31/2025</a:t>
            </a:fld>
            <a:endParaRPr kumimoji="0" lang="en-PK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A96705C-98F1-0D42-A610-B795A49F5D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K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463D00-D20B-FF48-9E0A-C5E298DE53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36449F-D3AD-5A45-9B10-51943849B92B}" type="slidenum">
              <a:rPr kumimoji="0" lang="en-P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PK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790240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68DC25-D8C4-8E47-9219-9E6CFEE1E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PK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E9A6CB0-AA5C-9541-9B29-7EA7569A62E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P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A08399E-0F45-FA4F-82EB-B9AB858D2AA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E104955-5954-0B42-9B2C-6E41C6E9D5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715BCD-AD48-2742-AC15-671E61DEDAD1}" type="datetimeFigureOut">
              <a:rPr kumimoji="0" lang="en-P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/31/2025</a:t>
            </a:fld>
            <a:endParaRPr kumimoji="0" lang="en-PK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257DE13-70F2-224C-A1DC-C22861569E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K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5CFB305-020E-C149-BBD7-059F00813E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36449F-D3AD-5A45-9B10-51943849B92B}" type="slidenum">
              <a:rPr kumimoji="0" lang="en-P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PK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09402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519011"/>
            <a:ext cx="5065776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8" y="976471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281C890-544A-4E72-8093-FD345BC9BA7E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TopLineRight">
            <a:extLst>
              <a:ext uri="{FF2B5EF4-FFF2-40B4-BE49-F238E27FC236}">
                <a16:creationId xmlns:a16="http://schemas.microsoft.com/office/drawing/2014/main" id="{4621481D-27E5-4F87-B45B-41DC18907499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937377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TopLineLeft">
            <a:extLst>
              <a:ext uri="{FF2B5EF4-FFF2-40B4-BE49-F238E27FC236}">
                <a16:creationId xmlns:a16="http://schemas.microsoft.com/office/drawing/2014/main" id="{29C45080-F0A3-4994-8BE9-0C272784001F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937377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0324EE6-02E1-4789-BCBA-CEC16E7B160F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937377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389039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B0097E-DFB4-F647-84F0-28A2297194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PK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20E7B3C-AE02-D547-965F-8FA0D826449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P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3F34F7-9C1B-364B-B5C0-3E7067ABFC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715BCD-AD48-2742-AC15-671E61DEDAD1}" type="datetimeFigureOut">
              <a:rPr kumimoji="0" lang="en-P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/31/2025</a:t>
            </a:fld>
            <a:endParaRPr kumimoji="0" lang="en-PK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B51760-ED30-4B4B-A7E1-0637093B62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K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4F52CC-F643-9A49-B467-4FD4764F21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36449F-D3AD-5A45-9B10-51943849B92B}" type="slidenum">
              <a:rPr kumimoji="0" lang="en-P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PK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657324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41C121B-C67C-674E-B285-CEC8A1C4CC9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PK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6AB6052-113C-9F49-BBF1-1244BC07B3B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P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004539-F09C-4D46-B1AB-7AF5297108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715BCD-AD48-2742-AC15-671E61DEDAD1}" type="datetimeFigureOut">
              <a:rPr kumimoji="0" lang="en-P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/31/2025</a:t>
            </a:fld>
            <a:endParaRPr kumimoji="0" lang="en-PK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97C3F4-FB88-CB46-82D7-2A160F7B37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K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312623-FC53-8248-9EFF-1170EDD7F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36449F-D3AD-5A45-9B10-51943849B92B}" type="slidenum">
              <a:rPr kumimoji="0" lang="en-P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PK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610874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5369239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47688" y="4951630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4153476"/>
            <a:ext cx="9726795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51685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 1">
  <p:cSld name="Two Content 1"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2f65612a29d_0_73"/>
          <p:cNvSpPr txBox="1">
            <a:spLocks noGrp="1"/>
          </p:cNvSpPr>
          <p:nvPr>
            <p:ph type="title"/>
          </p:nvPr>
        </p:nvSpPr>
        <p:spPr>
          <a:xfrm>
            <a:off x="253345" y="-25986"/>
            <a:ext cx="11685300" cy="100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200" b="1" i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" name="Google Shape;97;g2f65612a29d_0_73"/>
          <p:cNvSpPr txBox="1">
            <a:spLocks noGrp="1"/>
          </p:cNvSpPr>
          <p:nvPr>
            <p:ph type="body" idx="1"/>
          </p:nvPr>
        </p:nvSpPr>
        <p:spPr>
          <a:xfrm>
            <a:off x="609600" y="1577340"/>
            <a:ext cx="5303400" cy="4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" name="Google Shape;98;g2f65612a29d_0_73"/>
          <p:cNvSpPr txBox="1">
            <a:spLocks noGrp="1"/>
          </p:cNvSpPr>
          <p:nvPr>
            <p:ph type="body" idx="2"/>
          </p:nvPr>
        </p:nvSpPr>
        <p:spPr>
          <a:xfrm>
            <a:off x="7685067" y="1823833"/>
            <a:ext cx="4170000" cy="457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b="0" i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" name="Google Shape;99;g2f65612a29d_0_73"/>
          <p:cNvSpPr txBox="1">
            <a:spLocks noGrp="1"/>
          </p:cNvSpPr>
          <p:nvPr>
            <p:ph type="ftr" idx="11"/>
          </p:nvPr>
        </p:nvSpPr>
        <p:spPr>
          <a:xfrm>
            <a:off x="4145280" y="6377940"/>
            <a:ext cx="390150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" name="Google Shape;100;g2f65612a29d_0_73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0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" name="Google Shape;101;g2f65612a29d_0_73"/>
          <p:cNvSpPr txBox="1">
            <a:spLocks noGrp="1"/>
          </p:cNvSpPr>
          <p:nvPr>
            <p:ph type="sldNum" idx="12"/>
          </p:nvPr>
        </p:nvSpPr>
        <p:spPr>
          <a:xfrm>
            <a:off x="11870090" y="6623600"/>
            <a:ext cx="2457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38100" marR="0" lvl="0" indent="0" algn="l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l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l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l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l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l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l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l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l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7916951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B2BB598-2691-4D01-A539-1D662EC06D72}"/>
              </a:ext>
            </a:extLst>
          </p:cNvPr>
          <p:cNvSpPr/>
          <p:nvPr userDrawn="1"/>
        </p:nvSpPr>
        <p:spPr>
          <a:xfrm>
            <a:off x="9383487" y="0"/>
            <a:ext cx="2808513" cy="6858001"/>
          </a:xfrm>
          <a:prstGeom prst="rect">
            <a:avLst/>
          </a:prstGeom>
          <a:solidFill>
            <a:srgbClr val="0070C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ABE5ED7-62AC-442E-9D78-2775559457BD}"/>
              </a:ext>
            </a:extLst>
          </p:cNvPr>
          <p:cNvSpPr/>
          <p:nvPr userDrawn="1"/>
        </p:nvSpPr>
        <p:spPr>
          <a:xfrm flipV="1">
            <a:off x="9087171" y="1"/>
            <a:ext cx="79189" cy="6858000"/>
          </a:xfrm>
          <a:prstGeom prst="rect">
            <a:avLst/>
          </a:prstGeom>
          <a:solidFill>
            <a:srgbClr val="6D6B6A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842E8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47687" y="3895055"/>
            <a:ext cx="8309441" cy="25527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44575" y="3460377"/>
            <a:ext cx="8309441" cy="36467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48828" y="2719123"/>
            <a:ext cx="8309441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dirty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ABE5ED7-62AC-442E-9D78-2775559457BD}"/>
              </a:ext>
            </a:extLst>
          </p:cNvPr>
          <p:cNvSpPr/>
          <p:nvPr userDrawn="1"/>
        </p:nvSpPr>
        <p:spPr>
          <a:xfrm flipV="1">
            <a:off x="9209465" y="2839"/>
            <a:ext cx="133877" cy="6858000"/>
          </a:xfrm>
          <a:prstGeom prst="rect">
            <a:avLst/>
          </a:prstGeom>
          <a:solidFill>
            <a:srgbClr val="842E8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5F5A4943-D4E5-A441-BC92-3A04E086C5ED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021" y="6275261"/>
            <a:ext cx="1486541" cy="401392"/>
          </a:xfrm>
          <a:prstGeom prst="rect">
            <a:avLst/>
          </a:prstGeom>
        </p:spPr>
      </p:pic>
      <p:pic>
        <p:nvPicPr>
          <p:cNvPr id="19" name="Picture 21" descr="BF first.png">
            <a:extLst>
              <a:ext uri="{FF2B5EF4-FFF2-40B4-BE49-F238E27FC236}">
                <a16:creationId xmlns:a16="http://schemas.microsoft.com/office/drawing/2014/main" id="{87D0DA30-E487-6A42-859A-54C34C87D8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2434"/>
          <a:stretch/>
        </p:blipFill>
        <p:spPr bwMode="auto">
          <a:xfrm>
            <a:off x="2218689" y="6275261"/>
            <a:ext cx="579633" cy="383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4728961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56290" y="2187773"/>
            <a:ext cx="10107459" cy="1107996"/>
          </a:xfrm>
        </p:spPr>
        <p:txBody>
          <a:bodyPr wrap="square" tIns="0" bIns="0" anchor="t" anchorCtr="0">
            <a:noAutofit/>
          </a:bodyPr>
          <a:lstStyle>
            <a:lvl1pPr>
              <a:defRPr sz="3563" cap="all" baseline="0">
                <a:solidFill>
                  <a:srgbClr val="0070C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56623" y="3723710"/>
            <a:ext cx="8534401" cy="312465"/>
          </a:xfrm>
        </p:spPr>
        <p:txBody>
          <a:bodyPr>
            <a:spAutoFit/>
          </a:bodyPr>
          <a:lstStyle>
            <a:lvl1pPr marL="0" indent="0" algn="l">
              <a:buNone/>
              <a:defRPr sz="1781" b="1">
                <a:solidFill>
                  <a:schemeClr val="bg2">
                    <a:lumMod val="50000"/>
                  </a:schemeClr>
                </a:solidFill>
              </a:defRPr>
            </a:lvl1pPr>
            <a:lvl2pPr marL="4572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9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2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5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80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7" name="Rectangle 26"/>
          <p:cNvSpPr/>
          <p:nvPr/>
        </p:nvSpPr>
        <p:spPr>
          <a:xfrm>
            <a:off x="10876225" y="98632"/>
            <a:ext cx="1220441" cy="66607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51" tIns="45726" rIns="91451" bIns="45726" rtlCol="0" anchor="ctr"/>
          <a:lstStyle/>
          <a:p>
            <a:pPr marL="0" marR="0" lvl="0" indent="0" algn="ctr" defTabSz="9145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81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10" hasCustomPrompt="1"/>
          </p:nvPr>
        </p:nvSpPr>
        <p:spPr>
          <a:xfrm>
            <a:off x="656289" y="4464115"/>
            <a:ext cx="8616694" cy="1188750"/>
          </a:xfrm>
        </p:spPr>
        <p:txBody>
          <a:bodyPr>
            <a:noAutofit/>
          </a:bodyPr>
          <a:lstStyle>
            <a:lvl1pPr marL="0" indent="0">
              <a:buNone/>
              <a:defRPr sz="1406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Speaker / Organization / 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F5A4943-D4E5-A441-BC92-3A04E086C5E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7431" y="128336"/>
            <a:ext cx="2176445" cy="587677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10876225" y="98632"/>
            <a:ext cx="1220441" cy="66607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51" tIns="45726" rIns="91451" bIns="45726" rtlCol="0" anchor="ctr"/>
          <a:lstStyle/>
          <a:p>
            <a:pPr marL="0" marR="0" lvl="0" indent="0" algn="ctr" defTabSz="9145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81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F5A4943-D4E5-A441-BC92-3A04E086C5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7431" y="128336"/>
            <a:ext cx="2176445" cy="5876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290357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2566" y="1699617"/>
            <a:ext cx="10557883" cy="3985617"/>
          </a:xfrm>
        </p:spPr>
        <p:txBody>
          <a:bodyPr/>
          <a:lstStyle>
            <a:lvl1pPr>
              <a:defRPr sz="1500">
                <a:solidFill>
                  <a:schemeClr val="bg2">
                    <a:lumMod val="50000"/>
                  </a:schemeClr>
                </a:solidFill>
              </a:defRPr>
            </a:lvl1pPr>
            <a:lvl2pPr>
              <a:defRPr sz="1500">
                <a:solidFill>
                  <a:schemeClr val="bg2">
                    <a:lumMod val="50000"/>
                  </a:schemeClr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662567" y="2187775"/>
            <a:ext cx="3199358" cy="3497461"/>
          </a:xfrm>
        </p:spPr>
        <p:txBody>
          <a:bodyPr tIns="91440"/>
          <a:lstStyle>
            <a:lvl1pPr marL="128588" indent="-128588">
              <a:lnSpc>
                <a:spcPct val="114000"/>
              </a:lnSpc>
              <a:spcBef>
                <a:spcPts val="0"/>
              </a:spcBef>
              <a:defRPr sz="1313">
                <a:solidFill>
                  <a:schemeClr val="bg2">
                    <a:lumMod val="50000"/>
                  </a:schemeClr>
                </a:solidFill>
              </a:defRPr>
            </a:lvl1pPr>
            <a:lvl2pPr marL="300038" indent="-171450">
              <a:lnSpc>
                <a:spcPct val="114000"/>
              </a:lnSpc>
              <a:spcBef>
                <a:spcPts val="0"/>
              </a:spcBef>
              <a:defRPr sz="1313">
                <a:solidFill>
                  <a:schemeClr val="bg2">
                    <a:lumMod val="50000"/>
                  </a:schemeClr>
                </a:solidFill>
              </a:defRPr>
            </a:lvl2pPr>
            <a:lvl3pPr marL="548640" indent="-162878">
              <a:lnSpc>
                <a:spcPct val="114000"/>
              </a:lnSpc>
              <a:spcBef>
                <a:spcPts val="0"/>
              </a:spcBef>
              <a:defRPr sz="1125"/>
            </a:lvl3pPr>
            <a:lvl4pPr>
              <a:lnSpc>
                <a:spcPct val="114000"/>
              </a:lnSpc>
              <a:spcBef>
                <a:spcPts val="0"/>
              </a:spcBef>
              <a:defRPr sz="1219"/>
            </a:lvl4pPr>
            <a:lvl5pPr>
              <a:lnSpc>
                <a:spcPct val="114000"/>
              </a:lnSpc>
              <a:spcBef>
                <a:spcPts val="0"/>
              </a:spcBef>
              <a:defRPr sz="1219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8021091" y="2187775"/>
            <a:ext cx="3199358" cy="3497461"/>
          </a:xfrm>
        </p:spPr>
        <p:txBody>
          <a:bodyPr tIns="91440"/>
          <a:lstStyle>
            <a:lvl1pPr marL="128588" indent="-128588">
              <a:defRPr sz="1313">
                <a:solidFill>
                  <a:schemeClr val="bg2">
                    <a:lumMod val="50000"/>
                  </a:schemeClr>
                </a:solidFill>
              </a:defRPr>
            </a:lvl1pPr>
            <a:lvl2pPr marL="300038" indent="-171450">
              <a:defRPr sz="1313">
                <a:solidFill>
                  <a:schemeClr val="bg2">
                    <a:lumMod val="50000"/>
                  </a:schemeClr>
                </a:solidFill>
              </a:defRPr>
            </a:lvl2pPr>
            <a:lvl3pPr marL="548640" indent="-162878">
              <a:defRPr sz="1125"/>
            </a:lvl3pPr>
            <a:lvl4pPr>
              <a:defRPr sz="1219"/>
            </a:lvl4pPr>
            <a:lvl5pPr>
              <a:defRPr sz="1219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2"/>
          </p:nvPr>
        </p:nvSpPr>
        <p:spPr>
          <a:xfrm>
            <a:off x="4341829" y="2187775"/>
            <a:ext cx="3199358" cy="3497461"/>
          </a:xfrm>
        </p:spPr>
        <p:txBody>
          <a:bodyPr tIns="91440"/>
          <a:lstStyle>
            <a:lvl1pPr marL="128588" indent="-128588">
              <a:lnSpc>
                <a:spcPct val="114000"/>
              </a:lnSpc>
              <a:spcBef>
                <a:spcPts val="0"/>
              </a:spcBef>
              <a:defRPr sz="1313">
                <a:solidFill>
                  <a:schemeClr val="bg2">
                    <a:lumMod val="50000"/>
                  </a:schemeClr>
                </a:solidFill>
              </a:defRPr>
            </a:lvl1pPr>
            <a:lvl2pPr marL="300038" indent="-171450">
              <a:lnSpc>
                <a:spcPct val="114000"/>
              </a:lnSpc>
              <a:spcBef>
                <a:spcPts val="0"/>
              </a:spcBef>
              <a:defRPr sz="1313">
                <a:solidFill>
                  <a:schemeClr val="bg2">
                    <a:lumMod val="50000"/>
                  </a:schemeClr>
                </a:solidFill>
              </a:defRPr>
            </a:lvl2pPr>
            <a:lvl3pPr marL="548640" indent="-162878">
              <a:lnSpc>
                <a:spcPct val="114000"/>
              </a:lnSpc>
              <a:spcBef>
                <a:spcPts val="0"/>
              </a:spcBef>
              <a:defRPr sz="1125"/>
            </a:lvl3pPr>
            <a:lvl4pPr>
              <a:lnSpc>
                <a:spcPct val="114000"/>
              </a:lnSpc>
              <a:spcBef>
                <a:spcPts val="0"/>
              </a:spcBef>
              <a:defRPr sz="1219"/>
            </a:lvl4pPr>
            <a:lvl5pPr>
              <a:lnSpc>
                <a:spcPct val="114000"/>
              </a:lnSpc>
              <a:spcBef>
                <a:spcPts val="0"/>
              </a:spcBef>
              <a:defRPr sz="1219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70C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F5A4943-D4E5-A441-BC92-3A04E086C5E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05" r="78419"/>
          <a:stretch/>
        </p:blipFill>
        <p:spPr>
          <a:xfrm>
            <a:off x="11601580" y="83099"/>
            <a:ext cx="469698" cy="56649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F5A4943-D4E5-A441-BC92-3A04E086C5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05" r="78419"/>
          <a:stretch/>
        </p:blipFill>
        <p:spPr>
          <a:xfrm>
            <a:off x="11601580" y="83099"/>
            <a:ext cx="469698" cy="566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367127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3025" y="172743"/>
            <a:ext cx="10363200" cy="369332"/>
          </a:xfrm>
        </p:spPr>
        <p:txBody>
          <a:bodyPr tIns="0" bIns="0" anchor="t">
            <a:spAutoFit/>
          </a:bodyPr>
          <a:lstStyle>
            <a:lvl1pPr algn="l">
              <a:defRPr sz="2400" b="1" cap="none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"/>
          <p:cNvSpPr/>
          <p:nvPr/>
        </p:nvSpPr>
        <p:spPr>
          <a:xfrm>
            <a:off x="10876225" y="98632"/>
            <a:ext cx="1220441" cy="10941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51" tIns="45726" rIns="91451" bIns="45726" rtlCol="0" anchor="ctr"/>
          <a:lstStyle/>
          <a:p>
            <a:pPr marL="0" marR="0" lvl="0" indent="0" algn="ctr" defTabSz="9145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81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F5A4943-D4E5-A441-BC92-3A04E086C5E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05" r="78419"/>
          <a:stretch/>
        </p:blipFill>
        <p:spPr>
          <a:xfrm>
            <a:off x="11601580" y="83099"/>
            <a:ext cx="469698" cy="566492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10876225" y="98632"/>
            <a:ext cx="1220441" cy="10941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51" tIns="45726" rIns="91451" bIns="45726" rtlCol="0" anchor="ctr"/>
          <a:lstStyle/>
          <a:p>
            <a:pPr marL="0" marR="0" lvl="0" indent="0" algn="ctr" defTabSz="9145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81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3370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">
          <p15:clr>
            <a:srgbClr val="FBAE40"/>
          </p15:clr>
        </p15:guide>
        <p15:guide id="2" pos="3840">
          <p15:clr>
            <a:srgbClr val="FBAE40"/>
          </p15:clr>
        </p15:guide>
        <p15:guide id="3" pos="312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cxnSp>
        <p:nvCxnSpPr>
          <p:cNvPr id="16" name="TopLineRight">
            <a:extLst>
              <a:ext uri="{FF2B5EF4-FFF2-40B4-BE49-F238E27FC236}">
                <a16:creationId xmlns:a16="http://schemas.microsoft.com/office/drawing/2014/main" id="{0925431E-93BB-4CAF-8412-89898F216A82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27886" y="937377"/>
            <a:ext cx="11064240" cy="0"/>
          </a:xfrm>
          <a:prstGeom prst="line">
            <a:avLst/>
          </a:prstGeom>
          <a:ln w="6350">
            <a:solidFill>
              <a:srgbClr val="000000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671114" y="660633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Title 1"/>
          <p:cNvSpPr txBox="1">
            <a:spLocks/>
          </p:cNvSpPr>
          <p:nvPr userDrawn="1"/>
        </p:nvSpPr>
        <p:spPr>
          <a:xfrm>
            <a:off x="513025" y="190676"/>
            <a:ext cx="1036320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514" rtl="0" eaLnBrk="1" latinLnBrk="0" hangingPunct="1">
              <a:spcBef>
                <a:spcPct val="0"/>
              </a:spcBef>
              <a:buNone/>
              <a:defRPr sz="2400" b="1" kern="1200" cap="none" baseline="0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51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+mj-cs"/>
              </a:rPr>
              <a:t>Click to edit Master title style</a:t>
            </a:r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63701" y="1024020"/>
            <a:ext cx="9933970" cy="31579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>
                    <a:lumMod val="75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6727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cxnSp>
        <p:nvCxnSpPr>
          <p:cNvPr id="16" name="TopLineRight">
            <a:extLst>
              <a:ext uri="{FF2B5EF4-FFF2-40B4-BE49-F238E27FC236}">
                <a16:creationId xmlns:a16="http://schemas.microsoft.com/office/drawing/2014/main" id="{0925431E-93BB-4CAF-8412-89898F216A82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27886" y="937377"/>
            <a:ext cx="11064240" cy="0"/>
          </a:xfrm>
          <a:prstGeom prst="line">
            <a:avLst/>
          </a:prstGeom>
          <a:ln w="6350">
            <a:solidFill>
              <a:srgbClr val="000000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671114" y="660633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63701" y="1024020"/>
            <a:ext cx="9933970" cy="31579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>
                    <a:lumMod val="75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4566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9" Type="http://schemas.openxmlformats.org/officeDocument/2006/relationships/tags" Target="../tags/tag15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10.xml"/><Relationship Id="rId42" Type="http://schemas.openxmlformats.org/officeDocument/2006/relationships/tags" Target="../tags/tag18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1.xml"/><Relationship Id="rId33" Type="http://schemas.openxmlformats.org/officeDocument/2006/relationships/tags" Target="../tags/tag9.xml"/><Relationship Id="rId38" Type="http://schemas.openxmlformats.org/officeDocument/2006/relationships/tags" Target="../tags/tag14.xml"/><Relationship Id="rId46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5.xml"/><Relationship Id="rId41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32" Type="http://schemas.openxmlformats.org/officeDocument/2006/relationships/tags" Target="../tags/tag8.xml"/><Relationship Id="rId37" Type="http://schemas.openxmlformats.org/officeDocument/2006/relationships/tags" Target="../tags/tag13.xml"/><Relationship Id="rId40" Type="http://schemas.openxmlformats.org/officeDocument/2006/relationships/tags" Target="../tags/tag16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4.xml"/><Relationship Id="rId36" Type="http://schemas.openxmlformats.org/officeDocument/2006/relationships/tags" Target="../tags/tag1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7.xml"/><Relationship Id="rId44" Type="http://schemas.openxmlformats.org/officeDocument/2006/relationships/tags" Target="../tags/tag2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3.xml"/><Relationship Id="rId30" Type="http://schemas.openxmlformats.org/officeDocument/2006/relationships/tags" Target="../tags/tag6.xml"/><Relationship Id="rId35" Type="http://schemas.openxmlformats.org/officeDocument/2006/relationships/tags" Target="../tags/tag11.xml"/><Relationship Id="rId43" Type="http://schemas.openxmlformats.org/officeDocument/2006/relationships/tags" Target="../tags/tag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theme" Target="../theme/theme2.xml"/><Relationship Id="rId26" Type="http://schemas.openxmlformats.org/officeDocument/2006/relationships/tags" Target="../tags/tag152.xml"/><Relationship Id="rId39" Type="http://schemas.openxmlformats.org/officeDocument/2006/relationships/tags" Target="../tags/tag165.xml"/><Relationship Id="rId3" Type="http://schemas.openxmlformats.org/officeDocument/2006/relationships/slideLayout" Target="../slideLayouts/slideLayout26.xml"/><Relationship Id="rId21" Type="http://schemas.openxmlformats.org/officeDocument/2006/relationships/tags" Target="../tags/tag147.xml"/><Relationship Id="rId34" Type="http://schemas.openxmlformats.org/officeDocument/2006/relationships/tags" Target="../tags/tag160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tags" Target="../tags/tag151.xml"/><Relationship Id="rId33" Type="http://schemas.openxmlformats.org/officeDocument/2006/relationships/tags" Target="../tags/tag159.xml"/><Relationship Id="rId38" Type="http://schemas.openxmlformats.org/officeDocument/2006/relationships/tags" Target="../tags/tag164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tags" Target="../tags/tag146.xml"/><Relationship Id="rId29" Type="http://schemas.openxmlformats.org/officeDocument/2006/relationships/tags" Target="../tags/tag155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tags" Target="../tags/tag150.xml"/><Relationship Id="rId32" Type="http://schemas.openxmlformats.org/officeDocument/2006/relationships/tags" Target="../tags/tag158.xml"/><Relationship Id="rId37" Type="http://schemas.openxmlformats.org/officeDocument/2006/relationships/tags" Target="../tags/tag163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tags" Target="../tags/tag149.xml"/><Relationship Id="rId28" Type="http://schemas.openxmlformats.org/officeDocument/2006/relationships/tags" Target="../tags/tag154.xml"/><Relationship Id="rId36" Type="http://schemas.openxmlformats.org/officeDocument/2006/relationships/tags" Target="../tags/tag162.xml"/><Relationship Id="rId10" Type="http://schemas.openxmlformats.org/officeDocument/2006/relationships/slideLayout" Target="../slideLayouts/slideLayout33.xml"/><Relationship Id="rId19" Type="http://schemas.openxmlformats.org/officeDocument/2006/relationships/tags" Target="../tags/tag145.xml"/><Relationship Id="rId31" Type="http://schemas.openxmlformats.org/officeDocument/2006/relationships/tags" Target="../tags/tag157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tags" Target="../tags/tag148.xml"/><Relationship Id="rId27" Type="http://schemas.openxmlformats.org/officeDocument/2006/relationships/tags" Target="../tags/tag153.xml"/><Relationship Id="rId30" Type="http://schemas.openxmlformats.org/officeDocument/2006/relationships/tags" Target="../tags/tag156.xml"/><Relationship Id="rId35" Type="http://schemas.openxmlformats.org/officeDocument/2006/relationships/tags" Target="../tags/tag16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63.xml"/><Relationship Id="rId13" Type="http://schemas.openxmlformats.org/officeDocument/2006/relationships/tags" Target="../tags/tag268.xml"/><Relationship Id="rId18" Type="http://schemas.openxmlformats.org/officeDocument/2006/relationships/tags" Target="../tags/tag273.xml"/><Relationship Id="rId26" Type="http://schemas.openxmlformats.org/officeDocument/2006/relationships/oleObject" Target="../embeddings/oleObject16.bin"/><Relationship Id="rId3" Type="http://schemas.openxmlformats.org/officeDocument/2006/relationships/slideLayout" Target="../slideLayouts/slideLayout43.xml"/><Relationship Id="rId21" Type="http://schemas.openxmlformats.org/officeDocument/2006/relationships/tags" Target="../tags/tag276.xml"/><Relationship Id="rId7" Type="http://schemas.openxmlformats.org/officeDocument/2006/relationships/tags" Target="../tags/tag262.xml"/><Relationship Id="rId12" Type="http://schemas.openxmlformats.org/officeDocument/2006/relationships/tags" Target="../tags/tag267.xml"/><Relationship Id="rId17" Type="http://schemas.openxmlformats.org/officeDocument/2006/relationships/tags" Target="../tags/tag272.xml"/><Relationship Id="rId25" Type="http://schemas.openxmlformats.org/officeDocument/2006/relationships/tags" Target="../tags/tag280.xml"/><Relationship Id="rId2" Type="http://schemas.openxmlformats.org/officeDocument/2006/relationships/slideLayout" Target="../slideLayouts/slideLayout42.xml"/><Relationship Id="rId16" Type="http://schemas.openxmlformats.org/officeDocument/2006/relationships/tags" Target="../tags/tag271.xml"/><Relationship Id="rId20" Type="http://schemas.openxmlformats.org/officeDocument/2006/relationships/tags" Target="../tags/tag275.xml"/><Relationship Id="rId1" Type="http://schemas.openxmlformats.org/officeDocument/2006/relationships/slideLayout" Target="../slideLayouts/slideLayout41.xml"/><Relationship Id="rId6" Type="http://schemas.openxmlformats.org/officeDocument/2006/relationships/theme" Target="../theme/theme3.xml"/><Relationship Id="rId11" Type="http://schemas.openxmlformats.org/officeDocument/2006/relationships/tags" Target="../tags/tag266.xml"/><Relationship Id="rId24" Type="http://schemas.openxmlformats.org/officeDocument/2006/relationships/tags" Target="../tags/tag279.xml"/><Relationship Id="rId5" Type="http://schemas.openxmlformats.org/officeDocument/2006/relationships/slideLayout" Target="../slideLayouts/slideLayout45.xml"/><Relationship Id="rId15" Type="http://schemas.openxmlformats.org/officeDocument/2006/relationships/tags" Target="../tags/tag270.xml"/><Relationship Id="rId23" Type="http://schemas.openxmlformats.org/officeDocument/2006/relationships/tags" Target="../tags/tag278.xml"/><Relationship Id="rId10" Type="http://schemas.openxmlformats.org/officeDocument/2006/relationships/tags" Target="../tags/tag265.xml"/><Relationship Id="rId19" Type="http://schemas.openxmlformats.org/officeDocument/2006/relationships/tags" Target="../tags/tag274.xml"/><Relationship Id="rId4" Type="http://schemas.openxmlformats.org/officeDocument/2006/relationships/slideLayout" Target="../slideLayouts/slideLayout44.xml"/><Relationship Id="rId9" Type="http://schemas.openxmlformats.org/officeDocument/2006/relationships/tags" Target="../tags/tag264.xml"/><Relationship Id="rId14" Type="http://schemas.openxmlformats.org/officeDocument/2006/relationships/tags" Target="../tags/tag269.xml"/><Relationship Id="rId22" Type="http://schemas.openxmlformats.org/officeDocument/2006/relationships/tags" Target="../tags/tag277.xml"/><Relationship Id="rId27" Type="http://schemas.openxmlformats.org/officeDocument/2006/relationships/image" Target="../media/image6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18" Type="http://schemas.openxmlformats.org/officeDocument/2006/relationships/image" Target="../media/image7.emf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oleObject" Target="../embeddings/oleObject21.bin"/><Relationship Id="rId2" Type="http://schemas.openxmlformats.org/officeDocument/2006/relationships/slideLayout" Target="../slideLayouts/slideLayout47.xml"/><Relationship Id="rId16" Type="http://schemas.openxmlformats.org/officeDocument/2006/relationships/tags" Target="../tags/tag286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tags" Target="../tags/tag285.xml"/><Relationship Id="rId10" Type="http://schemas.openxmlformats.org/officeDocument/2006/relationships/slideLayout" Target="../slideLayouts/slideLayout55.xml"/><Relationship Id="rId19" Type="http://schemas.openxmlformats.org/officeDocument/2006/relationships/image" Target="../media/image11.png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slideLayout" Target="../slideLayouts/slideLayout71.xml"/><Relationship Id="rId18" Type="http://schemas.openxmlformats.org/officeDocument/2006/relationships/slideLayout" Target="../slideLayouts/slideLayout76.xml"/><Relationship Id="rId26" Type="http://schemas.openxmlformats.org/officeDocument/2006/relationships/tags" Target="../tags/tag365.xml"/><Relationship Id="rId39" Type="http://schemas.openxmlformats.org/officeDocument/2006/relationships/tags" Target="../tags/tag378.xml"/><Relationship Id="rId3" Type="http://schemas.openxmlformats.org/officeDocument/2006/relationships/slideLayout" Target="../slideLayouts/slideLayout61.xml"/><Relationship Id="rId21" Type="http://schemas.openxmlformats.org/officeDocument/2006/relationships/slideLayout" Target="../slideLayouts/slideLayout79.xml"/><Relationship Id="rId34" Type="http://schemas.openxmlformats.org/officeDocument/2006/relationships/tags" Target="../tags/tag373.xml"/><Relationship Id="rId42" Type="http://schemas.openxmlformats.org/officeDocument/2006/relationships/tags" Target="../tags/tag381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17" Type="http://schemas.openxmlformats.org/officeDocument/2006/relationships/slideLayout" Target="../slideLayouts/slideLayout75.xml"/><Relationship Id="rId25" Type="http://schemas.openxmlformats.org/officeDocument/2006/relationships/tags" Target="../tags/tag364.xml"/><Relationship Id="rId33" Type="http://schemas.openxmlformats.org/officeDocument/2006/relationships/tags" Target="../tags/tag372.xml"/><Relationship Id="rId38" Type="http://schemas.openxmlformats.org/officeDocument/2006/relationships/tags" Target="../tags/tag377.xml"/><Relationship Id="rId46" Type="http://schemas.openxmlformats.org/officeDocument/2006/relationships/image" Target="../media/image15.png"/><Relationship Id="rId2" Type="http://schemas.openxmlformats.org/officeDocument/2006/relationships/slideLayout" Target="../slideLayouts/slideLayout60.xml"/><Relationship Id="rId16" Type="http://schemas.openxmlformats.org/officeDocument/2006/relationships/slideLayout" Target="../slideLayouts/slideLayout74.xml"/><Relationship Id="rId20" Type="http://schemas.openxmlformats.org/officeDocument/2006/relationships/slideLayout" Target="../slideLayouts/slideLayout78.xml"/><Relationship Id="rId29" Type="http://schemas.openxmlformats.org/officeDocument/2006/relationships/tags" Target="../tags/tag368.xml"/><Relationship Id="rId41" Type="http://schemas.openxmlformats.org/officeDocument/2006/relationships/tags" Target="../tags/tag38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24" Type="http://schemas.openxmlformats.org/officeDocument/2006/relationships/tags" Target="../tags/tag363.xml"/><Relationship Id="rId32" Type="http://schemas.openxmlformats.org/officeDocument/2006/relationships/tags" Target="../tags/tag371.xml"/><Relationship Id="rId37" Type="http://schemas.openxmlformats.org/officeDocument/2006/relationships/tags" Target="../tags/tag376.xml"/><Relationship Id="rId40" Type="http://schemas.openxmlformats.org/officeDocument/2006/relationships/tags" Target="../tags/tag379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63.xml"/><Relationship Id="rId15" Type="http://schemas.openxmlformats.org/officeDocument/2006/relationships/slideLayout" Target="../slideLayouts/slideLayout73.xml"/><Relationship Id="rId23" Type="http://schemas.openxmlformats.org/officeDocument/2006/relationships/theme" Target="../theme/theme5.xml"/><Relationship Id="rId28" Type="http://schemas.openxmlformats.org/officeDocument/2006/relationships/tags" Target="../tags/tag367.xml"/><Relationship Id="rId36" Type="http://schemas.openxmlformats.org/officeDocument/2006/relationships/tags" Target="../tags/tag375.xml"/><Relationship Id="rId10" Type="http://schemas.openxmlformats.org/officeDocument/2006/relationships/slideLayout" Target="../slideLayouts/slideLayout68.xml"/><Relationship Id="rId19" Type="http://schemas.openxmlformats.org/officeDocument/2006/relationships/slideLayout" Target="../slideLayouts/slideLayout77.xml"/><Relationship Id="rId31" Type="http://schemas.openxmlformats.org/officeDocument/2006/relationships/tags" Target="../tags/tag370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72.xml"/><Relationship Id="rId22" Type="http://schemas.openxmlformats.org/officeDocument/2006/relationships/slideLayout" Target="../slideLayouts/slideLayout80.xml"/><Relationship Id="rId27" Type="http://schemas.openxmlformats.org/officeDocument/2006/relationships/tags" Target="../tags/tag366.xml"/><Relationship Id="rId30" Type="http://schemas.openxmlformats.org/officeDocument/2006/relationships/tags" Target="../tags/tag369.xml"/><Relationship Id="rId35" Type="http://schemas.openxmlformats.org/officeDocument/2006/relationships/tags" Target="../tags/tag374.xml"/><Relationship Id="rId43" Type="http://schemas.openxmlformats.org/officeDocument/2006/relationships/tags" Target="../tags/tag38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slideLayout" Target="../slideLayouts/slideLayout93.xml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0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13" Type="http://schemas.openxmlformats.org/officeDocument/2006/relationships/slideLayout" Target="../slideLayouts/slideLayout106.xml"/><Relationship Id="rId18" Type="http://schemas.openxmlformats.org/officeDocument/2006/relationships/image" Target="../media/image7.emf"/><Relationship Id="rId3" Type="http://schemas.openxmlformats.org/officeDocument/2006/relationships/slideLayout" Target="../slideLayouts/slideLayout96.xml"/><Relationship Id="rId7" Type="http://schemas.openxmlformats.org/officeDocument/2006/relationships/slideLayout" Target="../slideLayouts/slideLayout100.xml"/><Relationship Id="rId12" Type="http://schemas.openxmlformats.org/officeDocument/2006/relationships/slideLayout" Target="../slideLayouts/slideLayout105.xml"/><Relationship Id="rId17" Type="http://schemas.openxmlformats.org/officeDocument/2006/relationships/oleObject" Target="../embeddings/oleObject21.bin"/><Relationship Id="rId2" Type="http://schemas.openxmlformats.org/officeDocument/2006/relationships/slideLayout" Target="../slideLayouts/slideLayout95.xml"/><Relationship Id="rId16" Type="http://schemas.openxmlformats.org/officeDocument/2006/relationships/tags" Target="../tags/tag502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98.xml"/><Relationship Id="rId15" Type="http://schemas.openxmlformats.org/officeDocument/2006/relationships/tags" Target="../tags/tag501.xml"/><Relationship Id="rId10" Type="http://schemas.openxmlformats.org/officeDocument/2006/relationships/slideLayout" Target="../slideLayouts/slideLayout103.xml"/><Relationship Id="rId19" Type="http://schemas.openxmlformats.org/officeDocument/2006/relationships/image" Target="../media/image11.png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Relationship Id="rId14" Type="http://schemas.openxmlformats.org/officeDocument/2006/relationships/theme" Target="../theme/theme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5" imgW="413" imgH="416" progId="TCLayout.ActiveDocument.1">
                  <p:embed/>
                </p:oleObj>
              </mc:Choice>
              <mc:Fallback>
                <p:oleObj name="think-cell Slide" r:id="rId45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marL="203200" marR="0" lvl="0" indent="-212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554736" y="172212"/>
            <a:ext cx="10160065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289273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9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bove Chart Exhibit Tit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6017DE47-4B7E-4602-A5D8-84F1D054B685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0E773DEB-38A3-4D4F-8F3A-7DED71AB991A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0BBD940B-C7B3-42F9-A317-3A6409A75F43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C26E9D6E-D5B2-4063-BC7C-9B64A65F12D6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D75199AB-4672-4D43-A550-E0AD095E38D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C54E0345-E77E-4F4E-A6DE-370FD26C583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6EF73E9A-1D4C-4C71-AC42-915A9A82D8E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293BE944-4FB1-49E4-A46A-DFB832FADF2D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7C824262-8989-4B2D-8DBF-135E9E168DBC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F6423FB4-50F6-480B-81B0-87D1466FC3D9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F5CAFF64-59BF-4FFA-A7EC-6C6AB587CFFB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16DCA56E-1BE7-44F5-B451-C39F813FE2B6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115CD1D8-A840-4C47-8BAE-4755ADB1023C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98251E0D-E6AA-48B7-9F7E-F065654B0419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2BCBBD5C-74E4-49E5-AB9C-046CC11FD95D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FA7671A9-71DB-43E2-9D83-DE6CB521F4F4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E4E3E41D-ACEE-448A-9712-FCB4DC84E263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3A14524F-36B3-4640-BB23-FC3334384374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6B313E13-C478-43A9-8722-8D490DFC9F2B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346CEEAD-EB0F-4654-9B74-E9B88E15E92E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F1CCE464-A935-45D5-9DD2-6FD002E2E10F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F06CB200-3A1A-467F-8166-1307ABD2F9DA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A3F57F0F-CFB6-4459-98C3-704A188C1688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36A70474-5B3B-4D05-B276-92201F90794C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4E47F3DF-D57B-42D9-97F5-DF93588DD451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B7E58BBA-E347-43CE-AC2B-53B1091EB4FF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08C970BA-BB1D-41DF-BB7E-F37715E023C2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BB43699A-A93F-40F4-B94F-5ACC3FC7A2B3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9AAAA3D2-18E4-48C0-BE83-DB21A10DD202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7F691D58-858A-4AA0-AF95-9DAF892CEC93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6DACF4A1-1081-4AC1-9D47-12E01E2521AD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D1B52631-B18F-4E3B-9E20-D5DE506756B1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0074E8A9-58EF-400E-9311-7E77FC619AA5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CAB53C7B-2604-409C-ACAB-B85D0279EDA6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DABF097C-99AD-454B-88C9-800E21992926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04348013-5D9A-49E0-853F-523527ACCE23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2F54CB71-C033-4B3C-B037-1A95FC3C56A9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A9A3FC63-A72C-490E-BC2F-EB378B726610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8ABE5E40-BFBB-4D07-A6EF-7D8CAAAD21BC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7F9993B8-5743-4B3A-9BEF-DD9C57A04F7F}"/>
              </a:ext>
            </a:extLst>
          </p:cNvPr>
          <p:cNvCxnSpPr>
            <a:cxnSpLocks/>
          </p:cNvCxnSpPr>
          <p:nvPr userDrawn="1"/>
        </p:nvCxnSpPr>
        <p:spPr>
          <a:xfrm>
            <a:off x="554736" y="937377"/>
            <a:ext cx="11089576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33371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  <p:sldLayoutId id="2147483678" r:id="rId15"/>
    <p:sldLayoutId id="2147483679" r:id="rId16"/>
    <p:sldLayoutId id="2147483680" r:id="rId17"/>
    <p:sldLayoutId id="2147483681" r:id="rId18"/>
    <p:sldLayoutId id="2147483683" r:id="rId19"/>
    <p:sldLayoutId id="2147483684" r:id="rId20"/>
    <p:sldLayoutId id="2147483685" r:id="rId21"/>
    <p:sldLayoutId id="2147483686" r:id="rId22"/>
    <p:sldLayoutId id="2147483687" r:id="rId23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2" orient="horz" pos="3912">
          <p15:clr>
            <a:srgbClr val="5ACBF0"/>
          </p15:clr>
        </p15:guide>
        <p15:guide id="3" orient="horz" pos="1075">
          <p15:clr>
            <a:srgbClr val="F26B43"/>
          </p15:clr>
        </p15:guide>
        <p15:guide id="4" pos="7329">
          <p15:clr>
            <a:srgbClr val="F26B43"/>
          </p15:clr>
        </p15:guide>
        <p15:guide id="5" pos="345">
          <p15:clr>
            <a:srgbClr val="F26B43"/>
          </p15:clr>
        </p15:guide>
        <p15:guide id="6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marL="203200" marR="0" lvl="0" indent="-212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0160065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289273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bove Chart Exhibit Tit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6017DE47-4B7E-4602-A5D8-84F1D054B685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0E773DEB-38A3-4D4F-8F3A-7DED71AB991A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0BBD940B-C7B3-42F9-A317-3A6409A75F43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C26E9D6E-D5B2-4063-BC7C-9B64A65F12D6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D75199AB-4672-4D43-A550-E0AD095E38D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C54E0345-E77E-4F4E-A6DE-370FD26C583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6EF73E9A-1D4C-4C71-AC42-915A9A82D8E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293BE944-4FB1-49E4-A46A-DFB832FADF2D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7C824262-8989-4B2D-8DBF-135E9E168DBC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F6423FB4-50F6-480B-81B0-87D1466FC3D9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F5CAFF64-59BF-4FFA-A7EC-6C6AB587CFFB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16DCA56E-1BE7-44F5-B451-C39F813FE2B6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115CD1D8-A840-4C47-8BAE-4755ADB1023C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98251E0D-E6AA-48B7-9F7E-F065654B0419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2BCBBD5C-74E4-49E5-AB9C-046CC11FD95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FA7671A9-71DB-43E2-9D83-DE6CB521F4F4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E4E3E41D-ACEE-448A-9712-FCB4DC84E263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3A14524F-36B3-4640-BB23-FC3334384374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6B313E13-C478-43A9-8722-8D490DFC9F2B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346CEEAD-EB0F-4654-9B74-E9B88E15E92E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F1CCE464-A935-45D5-9DD2-6FD002E2E10F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F06CB200-3A1A-467F-8166-1307ABD2F9DA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A3F57F0F-CFB6-4459-98C3-704A188C1688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36A70474-5B3B-4D05-B276-92201F90794C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4E47F3DF-D57B-42D9-97F5-DF93588DD451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B7E58BBA-E347-43CE-AC2B-53B1091EB4FF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08C970BA-BB1D-41DF-BB7E-F37715E023C2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BB43699A-A93F-40F4-B94F-5ACC3FC7A2B3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9AAAA3D2-18E4-48C0-BE83-DB21A10DD202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7F691D58-858A-4AA0-AF95-9DAF892CEC93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6DACF4A1-1081-4AC1-9D47-12E01E2521AD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D1B52631-B18F-4E3B-9E20-D5DE506756B1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0074E8A9-58EF-400E-9311-7E77FC619AA5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CAB53C7B-2604-409C-ACAB-B85D0279EDA6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DABF097C-99AD-454B-88C9-800E21992926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04348013-5D9A-49E0-853F-523527ACCE23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2F54CB71-C033-4B3C-B037-1A95FC3C56A9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A9A3FC63-A72C-490E-BC2F-EB378B726610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8ABE5E40-BFBB-4D07-A6EF-7D8CAAAD21BC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sp>
        <p:nvSpPr>
          <p:cNvPr id="150" name="Footer Placeholder 5">
            <a:extLst>
              <a:ext uri="{FF2B5EF4-FFF2-40B4-BE49-F238E27FC236}">
                <a16:creationId xmlns:a16="http://schemas.microsoft.com/office/drawing/2014/main" id="{6BBE091D-712C-4217-8ACC-0D726A9E4244}"/>
              </a:ext>
            </a:extLst>
          </p:cNvPr>
          <p:cNvSpPr txBox="1">
            <a:spLocks/>
          </p:cNvSpPr>
          <p:nvPr userDrawn="1"/>
        </p:nvSpPr>
        <p:spPr>
          <a:xfrm>
            <a:off x="567614" y="6528816"/>
            <a:ext cx="1744067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fidential – For Discussion only</a:t>
            </a:r>
          </a:p>
        </p:txBody>
      </p:sp>
      <p:sp>
        <p:nvSpPr>
          <p:cNvPr id="14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24"/>
            </p:custDataLst>
          </p:nvPr>
        </p:nvSpPr>
        <p:spPr bwMode="black">
          <a:xfrm>
            <a:off x="11312525" y="64987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476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  <p:sldLayoutId id="2147483739" r:id="rId12"/>
    <p:sldLayoutId id="2147483740" r:id="rId13"/>
    <p:sldLayoutId id="2147483741" r:id="rId14"/>
    <p:sldLayoutId id="2147483742" r:id="rId15"/>
    <p:sldLayoutId id="2147483860" r:id="rId16"/>
    <p:sldLayoutId id="2147483889" r:id="rId17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2" orient="horz" pos="3912">
          <p15:clr>
            <a:srgbClr val="5ACBF0"/>
          </p15:clr>
        </p15:guide>
        <p15:guide id="3" orient="horz" pos="1075">
          <p15:clr>
            <a:srgbClr val="F26B43"/>
          </p15:clr>
        </p15:guide>
        <p15:guide id="4" pos="7329">
          <p15:clr>
            <a:srgbClr val="F26B43"/>
          </p15:clr>
        </p15:guide>
        <p15:guide id="5" pos="345">
          <p15:clr>
            <a:srgbClr val="F26B43"/>
          </p15:clr>
        </p15:guide>
        <p15:guide id="6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Slide Number"/>
          <p:cNvSpPr txBox="1">
            <a:spLocks/>
          </p:cNvSpPr>
          <p:nvPr/>
        </p:nvSpPr>
        <p:spPr>
          <a:xfrm>
            <a:off x="11800046" y="6631602"/>
            <a:ext cx="158697" cy="1569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r" defTabSz="88559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en-GB" sz="102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ＭＳ Ｐゴシック"/>
                <a:cs typeface="Arial"/>
                <a:sym typeface="Arial"/>
              </a:rPr>
              <a:pPr marL="0" marR="0" lvl="0" indent="0" algn="r" defTabSz="88559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02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ＭＳ Ｐゴシック"/>
              <a:cs typeface="Arial"/>
              <a:sym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6207" y="2373390"/>
            <a:ext cx="5853024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3261" y="235072"/>
            <a:ext cx="11725484" cy="3768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33259" y="10532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88559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28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ＭＳ Ｐゴシック"/>
                <a:cs typeface="Arial"/>
                <a:sym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3261" y="616629"/>
            <a:ext cx="11725484" cy="320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41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ＭＳ Ｐゴシック"/>
                <a:cs typeface="Arial"/>
                <a:sym typeface="Arial"/>
              </a:rPr>
              <a:t>Unit of measure</a:t>
            </a:r>
          </a:p>
        </p:txBody>
      </p:sp>
      <p:grpSp>
        <p:nvGrpSpPr>
          <p:cNvPr id="6" name="Slide Elements" hidden="1"/>
          <p:cNvGrpSpPr/>
          <p:nvPr/>
        </p:nvGrpSpPr>
        <p:grpSpPr>
          <a:xfrm>
            <a:off x="233260" y="6413253"/>
            <a:ext cx="11157459" cy="365622"/>
            <a:chOff x="171451" y="6295106"/>
            <a:chExt cx="8618537" cy="358343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171451" y="6295106"/>
              <a:ext cx="8618537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04775" marR="0" lvl="0" indent="-104775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2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Arial"/>
                  <a:sym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171452" y="6496483"/>
              <a:ext cx="8618536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621975" marR="0" lvl="0" indent="-621975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625214" algn="l"/>
                </a:tabLst>
                <a:defRPr/>
              </a:pPr>
              <a:r>
                <a:rPr kumimoji="0" lang="en-GB" sz="102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Arial"/>
                  <a:sym typeface="Arial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7" y="1762746"/>
            <a:ext cx="5853024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88559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32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Arial"/>
                  <a:sym typeface="Arial"/>
                </a:rPr>
                <a:t>Title</a:t>
              </a:r>
            </a:p>
            <a:p>
              <a:pPr marL="0" marR="0" lvl="0" indent="0" algn="l" defTabSz="88559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ＭＳ Ｐゴシック"/>
                  <a:cs typeface="Arial"/>
                  <a:sym typeface="Arial"/>
                </a:rPr>
                <a:t>Unit of measure</a:t>
              </a:r>
            </a:p>
          </p:txBody>
        </p:sp>
      </p:grpSp>
      <p:grpSp>
        <p:nvGrpSpPr>
          <p:cNvPr id="23" name="LegendBoxes" hidden="1"/>
          <p:cNvGrpSpPr>
            <a:grpSpLocks/>
          </p:cNvGrpSpPr>
          <p:nvPr/>
        </p:nvGrpSpPr>
        <p:grpSpPr bwMode="auto">
          <a:xfrm>
            <a:off x="10919881" y="302166"/>
            <a:ext cx="863915" cy="1017202"/>
            <a:chOff x="4936" y="176"/>
            <a:chExt cx="400" cy="628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GB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Arial"/>
                  <a:sym typeface="Arial"/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88559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Arial"/>
                <a:sym typeface="Arial"/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GB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Arial"/>
                  <a:sym typeface="Arial"/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88559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Arial"/>
                <a:sym typeface="Arial"/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GB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Arial"/>
                  <a:sym typeface="Arial"/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88559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Arial"/>
                <a:sym typeface="Arial"/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GB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Arial"/>
                  <a:sym typeface="Arial"/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88559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Arial"/>
                <a:sym typeface="Arial"/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auto">
          <a:xfrm>
            <a:off x="10500882" y="302167"/>
            <a:ext cx="1282914" cy="745084"/>
            <a:chOff x="4750" y="176"/>
            <a:chExt cx="594" cy="46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88559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Arial"/>
                <a:sym typeface="Arial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88559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Arial"/>
                <a:sym typeface="Arial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88559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Arial"/>
                <a:sym typeface="Arial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GB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Arial"/>
                  <a:sym typeface="Arial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GB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Arial"/>
                  <a:sym typeface="Arial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GB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Arial"/>
                  <a:sym typeface="Arial"/>
                </a:rPr>
                <a:t>Legend</a:t>
              </a:r>
            </a:p>
          </p:txBody>
        </p:sp>
      </p:grpSp>
      <p:grpSp>
        <p:nvGrpSpPr>
          <p:cNvPr id="39" name="McKSticker" hidden="1"/>
          <p:cNvGrpSpPr/>
          <p:nvPr/>
        </p:nvGrpSpPr>
        <p:grpSpPr bwMode="auto">
          <a:xfrm>
            <a:off x="10478972" y="302166"/>
            <a:ext cx="1479771" cy="220474"/>
            <a:chOff x="7653105" y="285750"/>
            <a:chExt cx="1087670" cy="216085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7941310" y="285750"/>
              <a:ext cx="799465" cy="2117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GB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ＭＳ Ｐゴシック"/>
                  <a:cs typeface="Arial"/>
                  <a:sym typeface="Arial"/>
                </a:rPr>
                <a:t>PRELIMINARY</a:t>
              </a:r>
            </a:p>
          </p:txBody>
        </p:sp>
        <p:cxnSp>
          <p:nvCxnSpPr>
            <p:cNvPr id="41" name="AutoShape 31"/>
            <p:cNvCxnSpPr>
              <a:cxnSpLocks noChangeShapeType="1"/>
              <a:stCxn id="40" idx="2"/>
              <a:endCxn id="40" idx="4"/>
            </p:cNvCxnSpPr>
            <p:nvPr/>
          </p:nvCxnSpPr>
          <p:spPr bwMode="auto">
            <a:xfrm>
              <a:off x="7653105" y="285750"/>
              <a:ext cx="0" cy="21608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7653105" y="501835"/>
              <a:ext cx="108767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" name="LegendMoons" hidden="1"/>
          <p:cNvGrpSpPr/>
          <p:nvPr/>
        </p:nvGrpSpPr>
        <p:grpSpPr>
          <a:xfrm>
            <a:off x="10828951" y="302165"/>
            <a:ext cx="955650" cy="1333054"/>
            <a:chOff x="7002295" y="1393115"/>
            <a:chExt cx="702428" cy="1306516"/>
          </a:xfrm>
        </p:grpSpPr>
        <p:grpSp>
          <p:nvGrpSpPr>
            <p:cNvPr id="45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002295" y="1667356"/>
              <a:ext cx="209550" cy="209551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88559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Arial"/>
                  <a:sym typeface="Arial"/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88559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Arial"/>
                  <a:sym typeface="Arial"/>
                </a:endParaRPr>
              </a:p>
            </p:txBody>
          </p:sp>
        </p:grpSp>
        <p:grpSp>
          <p:nvGrpSpPr>
            <p:cNvPr id="46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002295" y="2215838"/>
              <a:ext cx="209550" cy="209551"/>
              <a:chOff x="4495" y="1198"/>
              <a:chExt cx="160" cy="160"/>
            </a:xfrm>
          </p:grpSpPr>
          <p:sp>
            <p:nvSpPr>
              <p:cNvPr id="58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88559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Arial"/>
                  <a:sym typeface="Arial"/>
                </a:endParaRPr>
              </a:p>
            </p:txBody>
          </p:sp>
          <p:sp>
            <p:nvSpPr>
              <p:cNvPr id="59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88559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Arial"/>
                  <a:sym typeface="Arial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auto">
            <a:xfrm>
              <a:off x="7322970" y="140581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GB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Arial"/>
                  <a:sym typeface="Arial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auto">
            <a:xfrm>
              <a:off x="7322970" y="1680453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GB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Arial"/>
                  <a:sym typeface="Arial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auto">
            <a:xfrm>
              <a:off x="7322970" y="1955092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GB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Arial"/>
                  <a:sym typeface="Arial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auto">
            <a:xfrm>
              <a:off x="7322970" y="222655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GB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Arial"/>
                  <a:sym typeface="Arial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auto">
            <a:xfrm>
              <a:off x="7322970" y="250278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GB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Arial"/>
                  <a:sym typeface="Arial"/>
                </a:rPr>
                <a:t>Legend</a:t>
              </a:r>
            </a:p>
          </p:txBody>
        </p:sp>
        <p:grpSp>
          <p:nvGrpSpPr>
            <p:cNvPr id="53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002295" y="1941597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88559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Arial"/>
                  <a:sym typeface="Arial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88559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Arial"/>
                  <a:sym typeface="Arial"/>
                </a:endParaRPr>
              </a:p>
            </p:txBody>
          </p:sp>
        </p:grpSp>
        <p:grpSp>
          <p:nvGrpSpPr>
            <p:cNvPr id="64" name="MoonLegend5"/>
            <p:cNvGrpSpPr>
              <a:grpSpLocks noChangeAspect="1"/>
            </p:cNvGrpSpPr>
            <p:nvPr userDrawn="1">
              <p:custDataLst>
                <p:tags r:id="rId14"/>
              </p:custDataLst>
            </p:nvPr>
          </p:nvGrpSpPr>
          <p:grpSpPr bwMode="auto">
            <a:xfrm>
              <a:off x="7002295" y="2490080"/>
              <a:ext cx="209550" cy="209551"/>
              <a:chOff x="4495" y="1198"/>
              <a:chExt cx="160" cy="160"/>
            </a:xfrm>
          </p:grpSpPr>
          <p:sp>
            <p:nvSpPr>
              <p:cNvPr id="65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88559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Arial"/>
                  <a:sym typeface="Arial"/>
                </a:endParaRPr>
              </a:p>
            </p:txBody>
          </p:sp>
          <p:sp>
            <p:nvSpPr>
              <p:cNvPr id="66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88559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Arial"/>
                  <a:sym typeface="Arial"/>
                </a:endParaRPr>
              </a:p>
            </p:txBody>
          </p:sp>
        </p:grpSp>
        <p:grpSp>
          <p:nvGrpSpPr>
            <p:cNvPr id="67" name="MoonLegend1"/>
            <p:cNvGrpSpPr>
              <a:grpSpLocks noChangeAspect="1"/>
            </p:cNvGrpSpPr>
            <p:nvPr userDrawn="1">
              <p:custDataLst>
                <p:tags r:id="rId15"/>
              </p:custDataLst>
            </p:nvPr>
          </p:nvGrpSpPr>
          <p:grpSpPr bwMode="auto">
            <a:xfrm>
              <a:off x="7002295" y="1393115"/>
              <a:ext cx="209550" cy="209551"/>
              <a:chOff x="4495" y="1198"/>
              <a:chExt cx="160" cy="160"/>
            </a:xfrm>
          </p:grpSpPr>
          <p:sp>
            <p:nvSpPr>
              <p:cNvPr id="68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88559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Arial"/>
                  <a:sym typeface="Arial"/>
                </a:endParaRPr>
              </a:p>
            </p:txBody>
          </p:sp>
          <p:sp>
            <p:nvSpPr>
              <p:cNvPr id="69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88559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56" name="Moon" hidden="1"/>
          <p:cNvGrpSpPr>
            <a:grpSpLocks noChangeAspect="1"/>
          </p:cNvGrpSpPr>
          <p:nvPr>
            <p:custDataLst>
              <p:tags r:id="rId8"/>
            </p:custDataLst>
          </p:nvPr>
        </p:nvGrpSpPr>
        <p:grpSpPr bwMode="auto">
          <a:xfrm>
            <a:off x="9319727" y="839114"/>
            <a:ext cx="345565" cy="259159"/>
            <a:chOff x="1600" y="1600"/>
            <a:chExt cx="160" cy="160"/>
          </a:xfrm>
        </p:grpSpPr>
        <p:sp>
          <p:nvSpPr>
            <p:cNvPr id="62" name="Oval 90"/>
            <p:cNvSpPr>
              <a:spLocks noChangeAspect="1"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88559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Arial"/>
                <a:sym typeface="Arial"/>
              </a:endParaRPr>
            </a:p>
          </p:txBody>
        </p:sp>
        <p:sp>
          <p:nvSpPr>
            <p:cNvPr id="63" name="Arc 91"/>
            <p:cNvSpPr>
              <a:spLocks noChangeAspect="1"/>
            </p:cNvSpPr>
            <p:nvPr>
              <p:custDataLst>
                <p:tags r:id="rId10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88559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36438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18" r:id="rId2"/>
    <p:sldLayoutId id="2147483819" r:id="rId3"/>
    <p:sldLayoutId id="2147483820" r:id="rId4"/>
    <p:sldLayoutId id="2147483822" r:id="rId5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449" b="1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985" y="1490"/>
          <a:ext cx="1983" cy="14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985" y="1490"/>
                        <a:ext cx="1983" cy="14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62567" y="649592"/>
            <a:ext cx="10558122" cy="796377"/>
          </a:xfrm>
          <a:prstGeom prst="rect">
            <a:avLst/>
          </a:prstGeom>
        </p:spPr>
        <p:txBody>
          <a:bodyPr vert="horz" lIns="0" tIns="0" rIns="0" bIns="48774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2564" y="1699616"/>
            <a:ext cx="10557883" cy="39856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F5A4943-D4E5-A441-BC92-3A04E086C5ED}"/>
              </a:ext>
            </a:extLst>
          </p:cNvPr>
          <p:cNvPicPr>
            <a:picLocks noChangeAspect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05" r="78419"/>
          <a:stretch/>
        </p:blipFill>
        <p:spPr>
          <a:xfrm>
            <a:off x="11601580" y="93067"/>
            <a:ext cx="469698" cy="566492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1985" y="1490"/>
          <a:ext cx="1983" cy="14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985" y="1490"/>
                        <a:ext cx="1983" cy="14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5F5A4943-D4E5-A441-BC92-3A04E086C5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05" r="78419"/>
          <a:stretch/>
        </p:blipFill>
        <p:spPr>
          <a:xfrm>
            <a:off x="11601580" y="93067"/>
            <a:ext cx="469698" cy="566492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0854274" y="6600518"/>
            <a:ext cx="1200133" cy="1443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lvl="0" indent="0" algn="r" defTabSz="9145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9152CC-DD9B-47F6-8FF2-D87C763F937B}" type="slidenum">
              <a:rPr kumimoji="0" lang="en-US" sz="938" b="1" i="0" u="none" strike="noStrike" kern="1200" cap="none" spc="0" normalizeH="0" baseline="0" noProof="0" smtClean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51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38" b="1" i="0" u="none" strike="noStrike" kern="1200" cap="none" spc="0" normalizeH="0" baseline="0" noProof="0" dirty="0">
              <a:ln>
                <a:noFill/>
              </a:ln>
              <a:solidFill>
                <a:srgbClr val="7F7F7F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07553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4" r:id="rId1"/>
    <p:sldLayoutId id="2147483825" r:id="rId2"/>
    <p:sldLayoutId id="2147483826" r:id="rId3"/>
    <p:sldLayoutId id="2147483827" r:id="rId4"/>
    <p:sldLayoutId id="2147483828" r:id="rId5"/>
    <p:sldLayoutId id="2147483829" r:id="rId6"/>
    <p:sldLayoutId id="2147483830" r:id="rId7"/>
    <p:sldLayoutId id="2147483831" r:id="rId8"/>
    <p:sldLayoutId id="2147483832" r:id="rId9"/>
    <p:sldLayoutId id="2147483833" r:id="rId10"/>
    <p:sldLayoutId id="2147483834" r:id="rId11"/>
    <p:sldLayoutId id="2147483835" r:id="rId12"/>
    <p:sldLayoutId id="2147483836" r:id="rId13"/>
  </p:sldLayoutIdLst>
  <p:hf sldNum="0" hdr="0" ftr="0" dt="0"/>
  <p:txStyles>
    <p:titleStyle>
      <a:lvl1pPr algn="l" defTabSz="914514" rtl="0" eaLnBrk="1" latinLnBrk="0" hangingPunct="1">
        <a:spcBef>
          <a:spcPct val="0"/>
        </a:spcBef>
        <a:buNone/>
        <a:defRPr sz="2438" b="1" kern="1200">
          <a:solidFill>
            <a:srgbClr val="000000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171450" indent="-171450" algn="l" defTabSz="914514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•"/>
        <a:defRPr sz="1125" b="0" kern="1200">
          <a:solidFill>
            <a:schemeClr val="bg2"/>
          </a:solidFill>
          <a:latin typeface="Arial" panose="020B0604020202020204" pitchFamily="34" charset="0"/>
          <a:ea typeface="+mn-ea"/>
          <a:cs typeface="+mn-cs"/>
        </a:defRPr>
      </a:lvl1pPr>
      <a:lvl2pPr marL="394335" indent="-214313" algn="l" defTabSz="914514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–"/>
        <a:defRPr sz="1125" kern="1200">
          <a:solidFill>
            <a:schemeClr val="bg2"/>
          </a:solidFill>
          <a:latin typeface="Arial" panose="020B0604020202020204" pitchFamily="34" charset="0"/>
          <a:ea typeface="+mn-ea"/>
          <a:cs typeface="+mn-cs"/>
        </a:defRPr>
      </a:lvl2pPr>
      <a:lvl3pPr marL="857250" indent="-214313" algn="l" defTabSz="914514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–"/>
        <a:defRPr sz="15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3pPr>
      <a:lvl4pPr marL="1600400" indent="-228628" algn="l" defTabSz="914514" rtl="0" eaLnBrk="1" latinLnBrk="0" hangingPunct="1">
        <a:spcBef>
          <a:spcPct val="20000"/>
        </a:spcBef>
        <a:buFont typeface="Arial" panose="020B0604020202020204" pitchFamily="34" charset="0"/>
        <a:buChar char="–"/>
        <a:defRPr sz="1594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4pPr>
      <a:lvl5pPr marL="2057657" indent="-228628" algn="l" defTabSz="914514" rtl="0" eaLnBrk="1" latinLnBrk="0" hangingPunct="1">
        <a:spcBef>
          <a:spcPct val="20000"/>
        </a:spcBef>
        <a:buFont typeface="Arial" panose="020B0604020202020204" pitchFamily="34" charset="0"/>
        <a:buChar char="»"/>
        <a:defRPr sz="1594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5pPr>
      <a:lvl6pPr marL="2514914" indent="-228628" algn="l" defTabSz="914514" rtl="0" eaLnBrk="1" latinLnBrk="0" hangingPunct="1">
        <a:spcBef>
          <a:spcPct val="20000"/>
        </a:spcBef>
        <a:buFont typeface="Arial" panose="020B0604020202020204" pitchFamily="34" charset="0"/>
        <a:buChar char="•"/>
        <a:defRPr sz="1969" kern="1200">
          <a:solidFill>
            <a:schemeClr val="tx1"/>
          </a:solidFill>
          <a:latin typeface="+mn-lt"/>
          <a:ea typeface="+mn-ea"/>
          <a:cs typeface="+mn-cs"/>
        </a:defRPr>
      </a:lvl6pPr>
      <a:lvl7pPr marL="2972171" indent="-228628" algn="l" defTabSz="914514" rtl="0" eaLnBrk="1" latinLnBrk="0" hangingPunct="1">
        <a:spcBef>
          <a:spcPct val="20000"/>
        </a:spcBef>
        <a:buFont typeface="Arial" panose="020B0604020202020204" pitchFamily="34" charset="0"/>
        <a:buChar char="•"/>
        <a:defRPr sz="1969" kern="1200">
          <a:solidFill>
            <a:schemeClr val="tx1"/>
          </a:solidFill>
          <a:latin typeface="+mn-lt"/>
          <a:ea typeface="+mn-ea"/>
          <a:cs typeface="+mn-cs"/>
        </a:defRPr>
      </a:lvl7pPr>
      <a:lvl8pPr marL="3429428" indent="-228628" algn="l" defTabSz="914514" rtl="0" eaLnBrk="1" latinLnBrk="0" hangingPunct="1">
        <a:spcBef>
          <a:spcPct val="20000"/>
        </a:spcBef>
        <a:buFont typeface="Arial" panose="020B0604020202020204" pitchFamily="34" charset="0"/>
        <a:buChar char="•"/>
        <a:defRPr sz="1969" kern="1200">
          <a:solidFill>
            <a:schemeClr val="tx1"/>
          </a:solidFill>
          <a:latin typeface="+mn-lt"/>
          <a:ea typeface="+mn-ea"/>
          <a:cs typeface="+mn-cs"/>
        </a:defRPr>
      </a:lvl8pPr>
      <a:lvl9pPr marL="3886686" indent="-228628" algn="l" defTabSz="914514" rtl="0" eaLnBrk="1" latinLnBrk="0" hangingPunct="1">
        <a:spcBef>
          <a:spcPct val="20000"/>
        </a:spcBef>
        <a:buFont typeface="Arial" panose="020B0604020202020204" pitchFamily="34" charset="0"/>
        <a:buChar char="•"/>
        <a:defRPr sz="196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514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1pPr>
      <a:lvl2pPr marL="457257" algn="l" defTabSz="914514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2pPr>
      <a:lvl3pPr marL="914514" algn="l" defTabSz="914514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3pPr>
      <a:lvl4pPr marL="1371772" algn="l" defTabSz="914514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4pPr>
      <a:lvl5pPr marL="1829029" algn="l" defTabSz="914514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5pPr>
      <a:lvl6pPr marL="2286286" algn="l" defTabSz="914514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6pPr>
      <a:lvl7pPr marL="2743543" algn="l" defTabSz="914514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7pPr>
      <a:lvl8pPr marL="3200800" algn="l" defTabSz="914514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8pPr>
      <a:lvl9pPr marL="3658058" algn="l" defTabSz="914514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413" imgH="416" progId="TCLayout.ActiveDocument.1">
                  <p:embed/>
                </p:oleObj>
              </mc:Choice>
              <mc:Fallback>
                <p:oleObj name="think-cell Slide" r:id="rId44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6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marL="203200" marR="0" lvl="0" indent="-212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>
          <a:xfrm>
            <a:off x="554736" y="172212"/>
            <a:ext cx="10160065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289273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8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bove Chart Exhibit Tit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6017DE47-4B7E-4602-A5D8-84F1D054B685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0E773DEB-38A3-4D4F-8F3A-7DED71AB991A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0BBD940B-C7B3-42F9-A317-3A6409A75F43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C26E9D6E-D5B2-4063-BC7C-9B64A65F12D6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D75199AB-4672-4D43-A550-E0AD095E38D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C54E0345-E77E-4F4E-A6DE-370FD26C583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6EF73E9A-1D4C-4C71-AC42-915A9A82D8E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293BE944-4FB1-49E4-A46A-DFB832FADF2D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7C824262-8989-4B2D-8DBF-135E9E168DBC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F6423FB4-50F6-480B-81B0-87D1466FC3D9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F5CAFF64-59BF-4FFA-A7EC-6C6AB587CFFB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16DCA56E-1BE7-44F5-B451-C39F813FE2B6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115CD1D8-A840-4C47-8BAE-4755ADB1023C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98251E0D-E6AA-48B7-9F7E-F065654B0419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2BCBBD5C-74E4-49E5-AB9C-046CC11FD95D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FA7671A9-71DB-43E2-9D83-DE6CB521F4F4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E4E3E41D-ACEE-448A-9712-FCB4DC84E263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3A14524F-36B3-4640-BB23-FC3334384374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6B313E13-C478-43A9-8722-8D490DFC9F2B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346CEEAD-EB0F-4654-9B74-E9B88E15E92E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F1CCE464-A935-45D5-9DD2-6FD002E2E10F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F06CB200-3A1A-467F-8166-1307ABD2F9DA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A3F57F0F-CFB6-4459-98C3-704A188C1688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36A70474-5B3B-4D05-B276-92201F90794C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4E47F3DF-D57B-42D9-97F5-DF93588DD451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B7E58BBA-E347-43CE-AC2B-53B1091EB4FF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08C970BA-BB1D-41DF-BB7E-F37715E023C2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BB43699A-A93F-40F4-B94F-5ACC3FC7A2B3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9AAAA3D2-18E4-48C0-BE83-DB21A10DD202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7F691D58-858A-4AA0-AF95-9DAF892CEC93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6DACF4A1-1081-4AC1-9D47-12E01E2521AD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D1B52631-B18F-4E3B-9E20-D5DE506756B1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0074E8A9-58EF-400E-9311-7E77FC619AA5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CAB53C7B-2604-409C-ACAB-B85D0279EDA6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DABF097C-99AD-454B-88C9-800E21992926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04348013-5D9A-49E0-853F-523527ACCE23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2F54CB71-C033-4B3C-B037-1A95FC3C56A9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A9A3FC63-A72C-490E-BC2F-EB378B726610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8ABE5E40-BFBB-4D07-A6EF-7D8CAAAD21BC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149" name="Picture 288">
            <a:extLst>
              <a:ext uri="{FF2B5EF4-FFF2-40B4-BE49-F238E27FC236}">
                <a16:creationId xmlns:a16="http://schemas.microsoft.com/office/drawing/2014/main" id="{E74F3545-FC3A-4A17-BFE1-5F269467272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494" y="74067"/>
            <a:ext cx="837450" cy="860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0" name="Footer Placeholder 5">
            <a:extLst>
              <a:ext uri="{FF2B5EF4-FFF2-40B4-BE49-F238E27FC236}">
                <a16:creationId xmlns:a16="http://schemas.microsoft.com/office/drawing/2014/main" id="{6BBE091D-712C-4217-8ACC-0D726A9E4244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overnment of Khyber Pakhtunkhwa</a:t>
            </a:r>
          </a:p>
        </p:txBody>
      </p: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7F9993B8-5743-4B3A-9BEF-DD9C57A04F7F}"/>
              </a:ext>
            </a:extLst>
          </p:cNvPr>
          <p:cNvCxnSpPr>
            <a:cxnSpLocks/>
          </p:cNvCxnSpPr>
          <p:nvPr userDrawn="1"/>
        </p:nvCxnSpPr>
        <p:spPr>
          <a:xfrm>
            <a:off x="554736" y="1001545"/>
            <a:ext cx="11089576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220733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39" r:id="rId2"/>
    <p:sldLayoutId id="2147483840" r:id="rId3"/>
    <p:sldLayoutId id="2147483841" r:id="rId4"/>
    <p:sldLayoutId id="2147483842" r:id="rId5"/>
    <p:sldLayoutId id="2147483843" r:id="rId6"/>
    <p:sldLayoutId id="2147483844" r:id="rId7"/>
    <p:sldLayoutId id="2147483845" r:id="rId8"/>
    <p:sldLayoutId id="2147483846" r:id="rId9"/>
    <p:sldLayoutId id="2147483847" r:id="rId10"/>
    <p:sldLayoutId id="2147483848" r:id="rId11"/>
    <p:sldLayoutId id="2147483849" r:id="rId12"/>
    <p:sldLayoutId id="2147483850" r:id="rId13"/>
    <p:sldLayoutId id="2147483851" r:id="rId14"/>
    <p:sldLayoutId id="2147483852" r:id="rId15"/>
    <p:sldLayoutId id="2147483853" r:id="rId16"/>
    <p:sldLayoutId id="2147483854" r:id="rId17"/>
    <p:sldLayoutId id="2147483855" r:id="rId18"/>
    <p:sldLayoutId id="2147483856" r:id="rId19"/>
    <p:sldLayoutId id="2147483857" r:id="rId20"/>
    <p:sldLayoutId id="2147483858" r:id="rId21"/>
    <p:sldLayoutId id="2147483859" r:id="rId22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91DC555-4885-9E4F-86C0-A80499405E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PK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DDFEF9-5EF0-7B4F-B163-1709953C41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P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37D52D-8651-1747-8E3D-5F8889C450B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715BCD-AD48-2742-AC15-671E61DEDAD1}" type="datetimeFigureOut">
              <a:rPr kumimoji="0" lang="en-P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/31/2025</a:t>
            </a:fld>
            <a:endParaRPr kumimoji="0" lang="en-PK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C6DAFB-63D7-FC47-B0EE-36427765A7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K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2B273-18F7-404F-A1BF-37396800B8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36449F-D3AD-5A45-9B10-51943849B92B}" type="slidenum">
              <a:rPr kumimoji="0" lang="en-P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PK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39777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2" r:id="rId1"/>
    <p:sldLayoutId id="2147483863" r:id="rId2"/>
    <p:sldLayoutId id="2147483864" r:id="rId3"/>
    <p:sldLayoutId id="2147483865" r:id="rId4"/>
    <p:sldLayoutId id="2147483866" r:id="rId5"/>
    <p:sldLayoutId id="2147483867" r:id="rId6"/>
    <p:sldLayoutId id="2147483868" r:id="rId7"/>
    <p:sldLayoutId id="2147483869" r:id="rId8"/>
    <p:sldLayoutId id="2147483870" r:id="rId9"/>
    <p:sldLayoutId id="2147483871" r:id="rId10"/>
    <p:sldLayoutId id="2147483872" r:id="rId11"/>
    <p:sldLayoutId id="2147483887" r:id="rId12"/>
    <p:sldLayoutId id="2147483888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P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985" y="1490"/>
          <a:ext cx="1983" cy="14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985" y="1490"/>
                        <a:ext cx="1983" cy="14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62567" y="649592"/>
            <a:ext cx="10558122" cy="796377"/>
          </a:xfrm>
          <a:prstGeom prst="rect">
            <a:avLst/>
          </a:prstGeom>
        </p:spPr>
        <p:txBody>
          <a:bodyPr vert="horz" lIns="0" tIns="0" rIns="0" bIns="48774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2564" y="1699616"/>
            <a:ext cx="10557883" cy="39856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F5A4943-D4E5-A441-BC92-3A04E086C5ED}"/>
              </a:ext>
            </a:extLst>
          </p:cNvPr>
          <p:cNvPicPr>
            <a:picLocks noChangeAspect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05" r="78419"/>
          <a:stretch/>
        </p:blipFill>
        <p:spPr>
          <a:xfrm>
            <a:off x="11601580" y="93067"/>
            <a:ext cx="469698" cy="566492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1985" y="1490"/>
          <a:ext cx="1983" cy="14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985" y="1490"/>
                        <a:ext cx="1983" cy="14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5F5A4943-D4E5-A441-BC92-3A04E086C5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05" r="78419"/>
          <a:stretch/>
        </p:blipFill>
        <p:spPr>
          <a:xfrm>
            <a:off x="11601580" y="93067"/>
            <a:ext cx="469698" cy="566492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0854274" y="6600518"/>
            <a:ext cx="1200133" cy="1443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lvl="0" indent="0" algn="r" defTabSz="9145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9152CC-DD9B-47F6-8FF2-D87C763F937B}" type="slidenum">
              <a:rPr kumimoji="0" lang="en-US" sz="938" b="1" i="0" u="none" strike="noStrike" kern="1200" cap="none" spc="0" normalizeH="0" baseline="0" noProof="0" smtClean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51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38" b="1" i="0" u="none" strike="noStrike" kern="1200" cap="none" spc="0" normalizeH="0" baseline="0" noProof="0" dirty="0">
              <a:ln>
                <a:noFill/>
              </a:ln>
              <a:solidFill>
                <a:srgbClr val="7F7F7F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9735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5" r:id="rId2"/>
    <p:sldLayoutId id="2147483876" r:id="rId3"/>
    <p:sldLayoutId id="2147483877" r:id="rId4"/>
    <p:sldLayoutId id="2147483878" r:id="rId5"/>
    <p:sldLayoutId id="2147483879" r:id="rId6"/>
    <p:sldLayoutId id="2147483880" r:id="rId7"/>
    <p:sldLayoutId id="2147483881" r:id="rId8"/>
    <p:sldLayoutId id="2147483882" r:id="rId9"/>
    <p:sldLayoutId id="2147483883" r:id="rId10"/>
    <p:sldLayoutId id="2147483884" r:id="rId11"/>
    <p:sldLayoutId id="2147483885" r:id="rId12"/>
    <p:sldLayoutId id="2147483886" r:id="rId13"/>
  </p:sldLayoutIdLst>
  <p:hf sldNum="0" hdr="0" ftr="0" dt="0"/>
  <p:txStyles>
    <p:titleStyle>
      <a:lvl1pPr algn="l" defTabSz="914514" rtl="0" eaLnBrk="1" latinLnBrk="0" hangingPunct="1">
        <a:spcBef>
          <a:spcPct val="0"/>
        </a:spcBef>
        <a:buNone/>
        <a:defRPr sz="2438" b="1" kern="1200">
          <a:solidFill>
            <a:srgbClr val="000000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171450" indent="-171450" algn="l" defTabSz="914514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•"/>
        <a:defRPr sz="1125" b="0" kern="1200">
          <a:solidFill>
            <a:schemeClr val="bg2"/>
          </a:solidFill>
          <a:latin typeface="Arial" panose="020B0604020202020204" pitchFamily="34" charset="0"/>
          <a:ea typeface="+mn-ea"/>
          <a:cs typeface="+mn-cs"/>
        </a:defRPr>
      </a:lvl1pPr>
      <a:lvl2pPr marL="394335" indent="-214313" algn="l" defTabSz="914514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–"/>
        <a:defRPr sz="1125" kern="1200">
          <a:solidFill>
            <a:schemeClr val="bg2"/>
          </a:solidFill>
          <a:latin typeface="Arial" panose="020B0604020202020204" pitchFamily="34" charset="0"/>
          <a:ea typeface="+mn-ea"/>
          <a:cs typeface="+mn-cs"/>
        </a:defRPr>
      </a:lvl2pPr>
      <a:lvl3pPr marL="857250" indent="-214313" algn="l" defTabSz="914514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–"/>
        <a:defRPr sz="15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3pPr>
      <a:lvl4pPr marL="1600400" indent="-228628" algn="l" defTabSz="914514" rtl="0" eaLnBrk="1" latinLnBrk="0" hangingPunct="1">
        <a:spcBef>
          <a:spcPct val="20000"/>
        </a:spcBef>
        <a:buFont typeface="Arial" panose="020B0604020202020204" pitchFamily="34" charset="0"/>
        <a:buChar char="–"/>
        <a:defRPr sz="1594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4pPr>
      <a:lvl5pPr marL="2057657" indent="-228628" algn="l" defTabSz="914514" rtl="0" eaLnBrk="1" latinLnBrk="0" hangingPunct="1">
        <a:spcBef>
          <a:spcPct val="20000"/>
        </a:spcBef>
        <a:buFont typeface="Arial" panose="020B0604020202020204" pitchFamily="34" charset="0"/>
        <a:buChar char="»"/>
        <a:defRPr sz="1594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5pPr>
      <a:lvl6pPr marL="2514914" indent="-228628" algn="l" defTabSz="914514" rtl="0" eaLnBrk="1" latinLnBrk="0" hangingPunct="1">
        <a:spcBef>
          <a:spcPct val="20000"/>
        </a:spcBef>
        <a:buFont typeface="Arial" panose="020B0604020202020204" pitchFamily="34" charset="0"/>
        <a:buChar char="•"/>
        <a:defRPr sz="1969" kern="1200">
          <a:solidFill>
            <a:schemeClr val="tx1"/>
          </a:solidFill>
          <a:latin typeface="+mn-lt"/>
          <a:ea typeface="+mn-ea"/>
          <a:cs typeface="+mn-cs"/>
        </a:defRPr>
      </a:lvl6pPr>
      <a:lvl7pPr marL="2972171" indent="-228628" algn="l" defTabSz="914514" rtl="0" eaLnBrk="1" latinLnBrk="0" hangingPunct="1">
        <a:spcBef>
          <a:spcPct val="20000"/>
        </a:spcBef>
        <a:buFont typeface="Arial" panose="020B0604020202020204" pitchFamily="34" charset="0"/>
        <a:buChar char="•"/>
        <a:defRPr sz="1969" kern="1200">
          <a:solidFill>
            <a:schemeClr val="tx1"/>
          </a:solidFill>
          <a:latin typeface="+mn-lt"/>
          <a:ea typeface="+mn-ea"/>
          <a:cs typeface="+mn-cs"/>
        </a:defRPr>
      </a:lvl7pPr>
      <a:lvl8pPr marL="3429428" indent="-228628" algn="l" defTabSz="914514" rtl="0" eaLnBrk="1" latinLnBrk="0" hangingPunct="1">
        <a:spcBef>
          <a:spcPct val="20000"/>
        </a:spcBef>
        <a:buFont typeface="Arial" panose="020B0604020202020204" pitchFamily="34" charset="0"/>
        <a:buChar char="•"/>
        <a:defRPr sz="1969" kern="1200">
          <a:solidFill>
            <a:schemeClr val="tx1"/>
          </a:solidFill>
          <a:latin typeface="+mn-lt"/>
          <a:ea typeface="+mn-ea"/>
          <a:cs typeface="+mn-cs"/>
        </a:defRPr>
      </a:lvl8pPr>
      <a:lvl9pPr marL="3886686" indent="-228628" algn="l" defTabSz="914514" rtl="0" eaLnBrk="1" latinLnBrk="0" hangingPunct="1">
        <a:spcBef>
          <a:spcPct val="20000"/>
        </a:spcBef>
        <a:buFont typeface="Arial" panose="020B0604020202020204" pitchFamily="34" charset="0"/>
        <a:buChar char="•"/>
        <a:defRPr sz="196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514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1pPr>
      <a:lvl2pPr marL="457257" algn="l" defTabSz="914514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2pPr>
      <a:lvl3pPr marL="914514" algn="l" defTabSz="914514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3pPr>
      <a:lvl4pPr marL="1371772" algn="l" defTabSz="914514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4pPr>
      <a:lvl5pPr marL="1829029" algn="l" defTabSz="914514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5pPr>
      <a:lvl6pPr marL="2286286" algn="l" defTabSz="914514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6pPr>
      <a:lvl7pPr marL="2743543" algn="l" defTabSz="914514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7pPr>
      <a:lvl8pPr marL="3200800" algn="l" defTabSz="914514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8pPr>
      <a:lvl9pPr marL="3658058" algn="l" defTabSz="914514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8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8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8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.xml"/><Relationship Id="rId2" Type="http://schemas.openxmlformats.org/officeDocument/2006/relationships/tags" Target="../tags/tag580.xml"/><Relationship Id="rId1" Type="http://schemas.openxmlformats.org/officeDocument/2006/relationships/tags" Target="../tags/tag579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8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8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8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8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8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8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40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40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4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9.xml"/><Relationship Id="rId6" Type="http://schemas.openxmlformats.org/officeDocument/2006/relationships/chart" Target="../charts/chart3.xml"/><Relationship Id="rId5" Type="http://schemas.openxmlformats.org/officeDocument/2006/relationships/image" Target="../media/image22.png"/><Relationship Id="rId4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1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9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7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8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4"/>
          <p:cNvSpPr txBox="1">
            <a:spLocks/>
          </p:cNvSpPr>
          <p:nvPr/>
        </p:nvSpPr>
        <p:spPr>
          <a:xfrm>
            <a:off x="689483" y="806899"/>
            <a:ext cx="11219439" cy="118186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75482" rtl="0" eaLnBrk="1" latinLnBrk="0" hangingPunct="1">
              <a:spcBef>
                <a:spcPct val="0"/>
              </a:spcBef>
              <a:buNone/>
              <a:defRPr sz="3800" b="1" kern="1200" cap="all" baseline="0">
                <a:solidFill>
                  <a:srgbClr val="0070C0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ctr" defTabSz="97548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+mj-cs"/>
              </a:rPr>
              <a:t>HEPATITIS C ELIMINATION PROGRAM PAKISTAN</a:t>
            </a:r>
          </a:p>
          <a:p>
            <a:pPr marL="0" marR="0" lvl="0" indent="0" algn="ctr" defTabSz="97548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0" y="2169632"/>
            <a:ext cx="12192000" cy="3014810"/>
          </a:xfrm>
          <a:prstGeom prst="rect">
            <a:avLst/>
          </a:prstGeom>
          <a:solidFill>
            <a:srgbClr val="01411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26" name="Picture 2" descr="Prime Minister of Pakistan - Wikipedia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2510" y="2325377"/>
            <a:ext cx="3310865" cy="2207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E0CEF2C-072F-89B4-DC57-DFDEE3A94B00}"/>
              </a:ext>
            </a:extLst>
          </p:cNvPr>
          <p:cNvSpPr txBox="1"/>
          <p:nvPr/>
        </p:nvSpPr>
        <p:spPr>
          <a:xfrm>
            <a:off x="4106779" y="5340187"/>
            <a:ext cx="4828674" cy="130788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2400" dirty="0"/>
              <a:t>Huma Qureshi (TI)</a:t>
            </a:r>
          </a:p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2400" dirty="0"/>
              <a:t>Gastroenterologist</a:t>
            </a:r>
          </a:p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2400" dirty="0"/>
              <a:t>National Focal point hepatitis </a:t>
            </a:r>
          </a:p>
        </p:txBody>
      </p:sp>
    </p:spTree>
    <p:extLst>
      <p:ext uri="{BB962C8B-B14F-4D97-AF65-F5344CB8AC3E}">
        <p14:creationId xmlns:p14="http://schemas.microsoft.com/office/powerpoint/2010/main" val="29062456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6A44F6-E974-AF27-A781-20DAC0C26D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50% population in 4 Provinces and 2 regions &amp; ICT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C83921-7294-2834-3D53-52F6B0DB28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unjab= 42.5 million</a:t>
            </a:r>
          </a:p>
          <a:p>
            <a:r>
              <a:rPr lang="en-US" dirty="0"/>
              <a:t>Sindh=18.5 million</a:t>
            </a:r>
          </a:p>
          <a:p>
            <a:r>
              <a:rPr lang="en-US" dirty="0"/>
              <a:t>KP=13.5 million</a:t>
            </a:r>
          </a:p>
          <a:p>
            <a:r>
              <a:rPr lang="en-US" dirty="0"/>
              <a:t>Balochistan=4.9 million</a:t>
            </a:r>
          </a:p>
          <a:p>
            <a:r>
              <a:rPr lang="en-US" dirty="0"/>
              <a:t>GB=0.5 million</a:t>
            </a:r>
          </a:p>
          <a:p>
            <a:r>
              <a:rPr lang="en-US" dirty="0"/>
              <a:t>AJK=1.4 million</a:t>
            </a:r>
          </a:p>
          <a:p>
            <a:r>
              <a:rPr lang="en-US" dirty="0"/>
              <a:t>Islamabad=0.7 million</a:t>
            </a:r>
          </a:p>
          <a:p>
            <a:r>
              <a:rPr lang="en-US" b="1" dirty="0"/>
              <a:t>Total= 82.5 million</a:t>
            </a:r>
          </a:p>
        </p:txBody>
      </p:sp>
    </p:spTree>
    <p:extLst>
      <p:ext uri="{BB962C8B-B14F-4D97-AF65-F5344CB8AC3E}">
        <p14:creationId xmlns:p14="http://schemas.microsoft.com/office/powerpoint/2010/main" val="1731504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573B44-0464-6B54-D081-A749AFFBA0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FF0000"/>
                </a:solidFill>
              </a:rPr>
              <a:t>Pilot projects of HCV elimination in GB and Sindh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263EA03-4E5D-4EB0-234C-508B21031A8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ilgit Baltista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7EEFCF-205E-98B8-F715-EC96D8406D09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n-US" dirty="0"/>
              <a:t>GB had never treated HCV cases</a:t>
            </a:r>
          </a:p>
          <a:p>
            <a:r>
              <a:rPr lang="en-US" dirty="0"/>
              <a:t>Population of GB 1.7 million, 1 million are &gt;12 years</a:t>
            </a:r>
          </a:p>
          <a:p>
            <a:r>
              <a:rPr lang="en-US" dirty="0"/>
              <a:t>2 UCs were selected – population of 14,300 people</a:t>
            </a:r>
          </a:p>
          <a:p>
            <a:r>
              <a:rPr lang="en-US" dirty="0"/>
              <a:t>All people were screened using WHO PQ RDT</a:t>
            </a:r>
          </a:p>
          <a:p>
            <a:r>
              <a:rPr lang="en-US" dirty="0"/>
              <a:t>All data entered electronically in EMR</a:t>
            </a:r>
          </a:p>
          <a:p>
            <a:r>
              <a:rPr lang="en-US" dirty="0"/>
              <a:t>Venous blood of positive cases sent to main lab for PCR</a:t>
            </a:r>
          </a:p>
          <a:p>
            <a:r>
              <a:rPr lang="en-US" dirty="0"/>
              <a:t>Prevalence was 1% all PCR positive were treated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7803B80-4E83-3CFD-F36C-409EBDD07AF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/>
              <a:t>Sindh-Khairpur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AE7F8CB-FF37-FDE9-03A4-3AC08D7B34DA}"/>
              </a:ext>
            </a:extLst>
          </p:cNvPr>
          <p:cNvSpPr>
            <a:spLocks noGrp="1"/>
          </p:cNvSpPr>
          <p:nvPr>
            <p:ph sz="quarter" idx="4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n-US" dirty="0"/>
              <a:t>Sindh had never used EMR or reflex blood test</a:t>
            </a:r>
          </a:p>
          <a:p>
            <a:r>
              <a:rPr lang="en-US" dirty="0"/>
              <a:t>45,000 population selected in 2 UCs</a:t>
            </a:r>
          </a:p>
          <a:p>
            <a:r>
              <a:rPr lang="en-US" dirty="0"/>
              <a:t>Daily temperatures are 48 degrees</a:t>
            </a:r>
          </a:p>
          <a:p>
            <a:r>
              <a:rPr lang="en-US" dirty="0"/>
              <a:t>WHO PQ RDT used.</a:t>
            </a:r>
          </a:p>
          <a:p>
            <a:r>
              <a:rPr lang="en-US" dirty="0"/>
              <a:t>48% (20912) screened, 2423 anti HCV+</a:t>
            </a:r>
          </a:p>
          <a:p>
            <a:r>
              <a:rPr lang="en-US" dirty="0"/>
              <a:t>Anti HCV prevalence was 11% </a:t>
            </a:r>
          </a:p>
          <a:p>
            <a:r>
              <a:rPr lang="en-US" dirty="0"/>
              <a:t>PCR positivity is 50%</a:t>
            </a:r>
          </a:p>
          <a:p>
            <a:r>
              <a:rPr lang="en-US" dirty="0"/>
              <a:t>Study is ongoing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69358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41E2CE-03CE-C9C5-D3D1-0533A0FA1A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step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BD1B17-8227-CEE7-A87F-4C5E65797B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fter the learning curve, we have planned to eliminate the disease from the whole region of GB in next 3-4 months</a:t>
            </a:r>
          </a:p>
          <a:p>
            <a:r>
              <a:rPr lang="en-US" dirty="0"/>
              <a:t>50% support from Federal government and 50% from Aga Khan foundation/network</a:t>
            </a:r>
          </a:p>
          <a:p>
            <a:pPr marL="0" indent="0">
              <a:buNone/>
            </a:pPr>
            <a:endParaRPr lang="en-US" dirty="0">
              <a:solidFill>
                <a:srgbClr val="FF0000"/>
              </a:solidFill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05287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" name="Google Shape;296;g2241db82a81_0_698"/>
          <p:cNvSpPr txBox="1"/>
          <p:nvPr/>
        </p:nvSpPr>
        <p:spPr>
          <a:xfrm>
            <a:off x="619200" y="1704364"/>
            <a:ext cx="10928099" cy="675079"/>
          </a:xfrm>
          <a:prstGeom prst="rect">
            <a:avLst/>
          </a:prstGeom>
          <a:solidFill>
            <a:srgbClr val="1C7645">
              <a:alpha val="17090"/>
            </a:srgbClr>
          </a:solidFill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echnical Advisory Group (TAG)</a:t>
            </a:r>
            <a:endParaRPr sz="2000" b="1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6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cademic group assisting the ministry in project execution</a:t>
            </a:r>
            <a:endParaRPr sz="1600" b="1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8" name="Google Shape;298;g2241db82a81_0_698"/>
          <p:cNvSpPr txBox="1"/>
          <p:nvPr/>
        </p:nvSpPr>
        <p:spPr>
          <a:xfrm>
            <a:off x="619200" y="5053180"/>
            <a:ext cx="2114400" cy="930959"/>
          </a:xfrm>
          <a:prstGeom prst="rect">
            <a:avLst/>
          </a:prstGeom>
          <a:solidFill>
            <a:srgbClr val="EFEFEF"/>
          </a:solidFill>
          <a:ln w="9525" cap="flat" cmpd="sng">
            <a:solidFill>
              <a:srgbClr val="000000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0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19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T Cell</a:t>
            </a:r>
            <a:endParaRPr sz="1900" b="1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299" name="Google Shape;299;g2241db82a81_0_698"/>
          <p:cNvCxnSpPr/>
          <p:nvPr/>
        </p:nvCxnSpPr>
        <p:spPr>
          <a:xfrm rot="10800000">
            <a:off x="1658037" y="4582916"/>
            <a:ext cx="8855400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00" name="Google Shape;300;g2241db82a81_0_698"/>
          <p:cNvCxnSpPr>
            <a:cxnSpLocks/>
          </p:cNvCxnSpPr>
          <p:nvPr/>
        </p:nvCxnSpPr>
        <p:spPr>
          <a:xfrm>
            <a:off x="1676400" y="4582916"/>
            <a:ext cx="0" cy="47662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01" name="Google Shape;301;g2241db82a81_0_698"/>
          <p:cNvCxnSpPr>
            <a:cxnSpLocks/>
          </p:cNvCxnSpPr>
          <p:nvPr/>
        </p:nvCxnSpPr>
        <p:spPr>
          <a:xfrm>
            <a:off x="3886200" y="4582916"/>
            <a:ext cx="0" cy="464444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02" name="Google Shape;302;g2241db82a81_0_698"/>
          <p:cNvCxnSpPr>
            <a:cxnSpLocks/>
          </p:cNvCxnSpPr>
          <p:nvPr/>
        </p:nvCxnSpPr>
        <p:spPr>
          <a:xfrm>
            <a:off x="8305800" y="4582916"/>
            <a:ext cx="0" cy="464444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03" name="Google Shape;303;g2241db82a81_0_698"/>
          <p:cNvCxnSpPr>
            <a:cxnSpLocks/>
            <a:stCxn id="304" idx="2"/>
          </p:cNvCxnSpPr>
          <p:nvPr/>
        </p:nvCxnSpPr>
        <p:spPr>
          <a:xfrm>
            <a:off x="6083250" y="4351562"/>
            <a:ext cx="12622" cy="695883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05" name="Google Shape;305;g2241db82a81_0_698"/>
          <p:cNvCxnSpPr>
            <a:cxnSpLocks/>
          </p:cNvCxnSpPr>
          <p:nvPr/>
        </p:nvCxnSpPr>
        <p:spPr>
          <a:xfrm>
            <a:off x="10515600" y="4582916"/>
            <a:ext cx="0" cy="473282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06" name="Google Shape;306;g2241db82a81_0_698"/>
          <p:cNvSpPr txBox="1"/>
          <p:nvPr/>
        </p:nvSpPr>
        <p:spPr>
          <a:xfrm>
            <a:off x="2829000" y="5053180"/>
            <a:ext cx="2114400" cy="930959"/>
          </a:xfrm>
          <a:prstGeom prst="rect">
            <a:avLst/>
          </a:prstGeom>
          <a:solidFill>
            <a:srgbClr val="EFEFEF"/>
          </a:solidFill>
          <a:ln w="9525" cap="flat" cmpd="sng">
            <a:solidFill>
              <a:srgbClr val="000000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0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9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dia cell</a:t>
            </a:r>
            <a:endParaRPr sz="1900" b="1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7" name="Google Shape;307;g2241db82a81_0_698"/>
          <p:cNvSpPr txBox="1"/>
          <p:nvPr/>
        </p:nvSpPr>
        <p:spPr>
          <a:xfrm>
            <a:off x="5038800" y="5053180"/>
            <a:ext cx="2114400" cy="930965"/>
          </a:xfrm>
          <a:prstGeom prst="rect">
            <a:avLst/>
          </a:prstGeom>
          <a:solidFill>
            <a:srgbClr val="EFEFEF"/>
          </a:solidFill>
          <a:ln w="9525" cap="flat" cmpd="sng">
            <a:solidFill>
              <a:srgbClr val="000000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0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9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curement Cell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@ M/o NHSR&amp;C</a:t>
            </a:r>
            <a:endParaRPr lang="en-US" sz="1800" b="1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8" name="Google Shape;308;g2241db82a81_0_698"/>
          <p:cNvSpPr txBox="1"/>
          <p:nvPr/>
        </p:nvSpPr>
        <p:spPr>
          <a:xfrm>
            <a:off x="7248600" y="5053180"/>
            <a:ext cx="2114400" cy="930969"/>
          </a:xfrm>
          <a:prstGeom prst="rect">
            <a:avLst/>
          </a:prstGeom>
          <a:solidFill>
            <a:srgbClr val="EFEFEF"/>
          </a:solidFill>
          <a:ln w="9525" cap="flat" cmpd="sng">
            <a:solidFill>
              <a:srgbClr val="000000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0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9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raining Cell</a:t>
            </a:r>
            <a:endParaRPr sz="1900" b="1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9" name="Google Shape;309;g2241db82a81_0_698"/>
          <p:cNvSpPr txBox="1"/>
          <p:nvPr/>
        </p:nvSpPr>
        <p:spPr>
          <a:xfrm>
            <a:off x="9458400" y="5053181"/>
            <a:ext cx="2114400" cy="930978"/>
          </a:xfrm>
          <a:prstGeom prst="rect">
            <a:avLst/>
          </a:prstGeom>
          <a:solidFill>
            <a:srgbClr val="EFEFEF"/>
          </a:solidFill>
          <a:ln w="9525" cap="flat" cmpd="sng">
            <a:solidFill>
              <a:srgbClr val="000000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0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9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ata Analysis, Monitoring and Evaluation</a:t>
            </a:r>
            <a:endParaRPr sz="1900" b="1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0" name="Google Shape;310;g2241db82a81_0_698"/>
          <p:cNvSpPr/>
          <p:nvPr/>
        </p:nvSpPr>
        <p:spPr>
          <a:xfrm rot="10800000">
            <a:off x="3355222" y="2747650"/>
            <a:ext cx="5486400" cy="441580"/>
          </a:xfrm>
          <a:prstGeom prst="triangle">
            <a:avLst>
              <a:gd name="adj" fmla="val 49780"/>
            </a:avLst>
          </a:prstGeom>
          <a:solidFill>
            <a:schemeClr val="lt2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11" name="Google Shape;311;g2241db82a81_0_698"/>
          <p:cNvSpPr txBox="1"/>
          <p:nvPr/>
        </p:nvSpPr>
        <p:spPr>
          <a:xfrm>
            <a:off x="619200" y="603701"/>
            <a:ext cx="10953600" cy="808950"/>
          </a:xfrm>
          <a:prstGeom prst="rect">
            <a:avLst/>
          </a:prstGeom>
          <a:solidFill>
            <a:srgbClr val="1A6B25"/>
          </a:solidFill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2300" b="1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National Task Force (NTF)</a:t>
            </a:r>
            <a:endParaRPr sz="2300" b="1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 Leadership and oversight by the Prime Minister, Federal ministers, Chief ministers, and Secretaries (in place)</a:t>
            </a:r>
            <a:endParaRPr b="1" dirty="0">
              <a:solidFill>
                <a:schemeClr val="lt1"/>
              </a:solidFill>
              <a:latin typeface="Source Serif Pro"/>
              <a:ea typeface="Source Serif Pro"/>
              <a:cs typeface="Source Serif Pro"/>
              <a:sym typeface="Source Serif Pro"/>
            </a:endParaRPr>
          </a:p>
        </p:txBody>
      </p:sp>
      <p:sp>
        <p:nvSpPr>
          <p:cNvPr id="304" name="Google Shape;304;g2241db82a81_0_698"/>
          <p:cNvSpPr txBox="1"/>
          <p:nvPr/>
        </p:nvSpPr>
        <p:spPr>
          <a:xfrm>
            <a:off x="619200" y="3420584"/>
            <a:ext cx="10928100" cy="930978"/>
          </a:xfrm>
          <a:prstGeom prst="rect">
            <a:avLst/>
          </a:prstGeom>
          <a:solidFill>
            <a:srgbClr val="999999"/>
          </a:solidFill>
          <a:ln w="1905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Establishment of PMU by Ministry of National Health Services Regulations and Coordination (</a:t>
            </a:r>
            <a:r>
              <a:rPr lang="en-US" sz="2000" b="1" dirty="0" err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MoNHSR&amp;C</a:t>
            </a:r>
            <a:r>
              <a:rPr lang="en-US" sz="2000" b="1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)</a:t>
            </a:r>
            <a:endParaRPr sz="2000" b="1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to lead Project Execution and Provincial Coordination under Ministry, TAG, and NTF</a:t>
            </a:r>
            <a:endParaRPr sz="2000" b="1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2" name="Google Shape;312;g2241db82a81_0_698"/>
          <p:cNvSpPr txBox="1"/>
          <p:nvPr/>
        </p:nvSpPr>
        <p:spPr>
          <a:xfrm>
            <a:off x="619200" y="6039175"/>
            <a:ext cx="10953600" cy="527100"/>
          </a:xfrm>
          <a:prstGeom prst="rect">
            <a:avLst/>
          </a:prstGeom>
          <a:solidFill>
            <a:srgbClr val="1C7645">
              <a:alpha val="17090"/>
            </a:srgbClr>
          </a:solidFill>
          <a:ln>
            <a:noFill/>
          </a:ln>
        </p:spPr>
        <p:txBody>
          <a:bodyPr spcFirstLastPara="1" wrap="square" lIns="180000" tIns="182875" rIns="91425" bIns="182875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-US" sz="26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VINCES WILL BE THE IMPLEMENTING PARTNERS</a:t>
            </a:r>
            <a:endParaRPr sz="2600" b="1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3" name="Google Shape;313;g2241db82a81_0_698"/>
          <p:cNvSpPr txBox="1"/>
          <p:nvPr/>
        </p:nvSpPr>
        <p:spPr>
          <a:xfrm>
            <a:off x="0" y="0"/>
            <a:ext cx="12192000" cy="573900"/>
          </a:xfrm>
          <a:prstGeom prst="rect">
            <a:avLst/>
          </a:prstGeom>
          <a:solidFill>
            <a:srgbClr val="B6D7A8">
              <a:alpha val="52160"/>
            </a:srgbClr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34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overnance Model</a:t>
            </a:r>
            <a:endParaRPr sz="3400" b="1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4" name="Google Shape;314;g2241db82a81_0_698"/>
          <p:cNvSpPr txBox="1">
            <a:spLocks noGrp="1"/>
          </p:cNvSpPr>
          <p:nvPr>
            <p:ph type="sldNum" idx="12"/>
          </p:nvPr>
        </p:nvSpPr>
        <p:spPr>
          <a:xfrm>
            <a:off x="9448800" y="6508750"/>
            <a:ext cx="2743200" cy="36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latin typeface="Calibri"/>
                <a:ea typeface="Calibri"/>
                <a:cs typeface="Calibri"/>
                <a:sym typeface="Calibri"/>
              </a:rPr>
              <a:t>5</a:t>
            </a:r>
            <a:endParaRPr sz="1200"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541399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2" name="Google Shape;372;g2f65612a29d_0_205"/>
          <p:cNvSpPr/>
          <p:nvPr/>
        </p:nvSpPr>
        <p:spPr>
          <a:xfrm rot="5400000">
            <a:off x="4585250" y="3381725"/>
            <a:ext cx="3022500" cy="489000"/>
          </a:xfrm>
          <a:prstGeom prst="trapezoid">
            <a:avLst>
              <a:gd name="adj" fmla="val 71211"/>
            </a:avLst>
          </a:prstGeom>
          <a:solidFill>
            <a:srgbClr val="EEE4D6">
              <a:alpha val="5094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373" name="Google Shape;373;g2f65612a29d_0_205" descr="A screenshot of a computer screen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347725" y="1864400"/>
            <a:ext cx="5615676" cy="3523650"/>
          </a:xfrm>
          <a:prstGeom prst="rect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74" name="Google Shape;374;g2f65612a29d_0_205"/>
          <p:cNvSpPr txBox="1">
            <a:spLocks noGrp="1"/>
          </p:cNvSpPr>
          <p:nvPr>
            <p:ph type="body" idx="2"/>
          </p:nvPr>
        </p:nvSpPr>
        <p:spPr>
          <a:xfrm>
            <a:off x="152400" y="883400"/>
            <a:ext cx="5832900" cy="5753700"/>
          </a:xfrm>
          <a:prstGeom prst="rect">
            <a:avLst/>
          </a:prstGeom>
          <a:solidFill>
            <a:schemeClr val="lt2"/>
          </a:solidFill>
          <a:ln w="25400" cap="flat" cmpd="sng">
            <a:solidFill>
              <a:srgbClr val="000000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182875" tIns="182875" rIns="0" bIns="182875" anchor="t" anchorCtr="0">
            <a:noAutofit/>
          </a:bodyPr>
          <a:lstStyle/>
          <a:p>
            <a:pPr marL="285750" lvl="0" indent="-285750">
              <a:buSzPts val="2000"/>
              <a:buFont typeface="Arial"/>
              <a:buChar char="•"/>
            </a:pPr>
            <a:r>
              <a:rPr lang="en-US" sz="2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oftware to Capture Screening and Treatment </a:t>
            </a:r>
          </a:p>
          <a:p>
            <a:pPr marL="285750" lvl="0" indent="-285750">
              <a:buSzPts val="2000"/>
              <a:buFont typeface="Arial"/>
              <a:buChar char="•"/>
            </a:pPr>
            <a:endParaRPr lang="en-US" sz="2000" b="1" dirty="0">
              <a:solidFill>
                <a:schemeClr val="dk1"/>
              </a:solidFill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endParaRPr>
          </a:p>
          <a:p>
            <a:pPr marL="285750" lvl="0" indent="-285750">
              <a:buSzPts val="2000"/>
              <a:buFont typeface="Arial"/>
              <a:buChar char="•"/>
            </a:pPr>
            <a:r>
              <a:rPr lang="en-US" sz="20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latform: </a:t>
            </a:r>
            <a:r>
              <a:rPr lang="en-US" sz="20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martphone/tablet-based with live geo-referencing; adaptable for offline access </a:t>
            </a:r>
            <a:endParaRPr sz="2000" dirty="0"/>
          </a:p>
          <a:p>
            <a:pPr marL="285750" marR="0" lvl="0" indent="-28575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en-US" sz="20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M Portal: </a:t>
            </a:r>
            <a:r>
              <a:rPr lang="en-US" sz="20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nables patients to register from home and schedule appointments at nearest screening facilities.</a:t>
            </a:r>
            <a:endParaRPr sz="2000" dirty="0"/>
          </a:p>
          <a:p>
            <a:pPr marL="285750" marR="0" lvl="0" indent="-285750" algn="l" rtl="0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en-US" sz="20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ll Centers: </a:t>
            </a:r>
            <a:r>
              <a:rPr lang="en-US" sz="20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ill communicate lab results, medication pickup points, follow-up reminders, and issue </a:t>
            </a:r>
            <a:r>
              <a:rPr lang="en-US" sz="2000" dirty="0">
                <a:solidFill>
                  <a:srgbClr val="1A6B25"/>
                </a:solidFill>
                <a:latin typeface="Calibri"/>
                <a:ea typeface="Calibri"/>
                <a:cs typeface="Calibri"/>
                <a:sym typeface="Calibri"/>
              </a:rPr>
              <a:t>"</a:t>
            </a:r>
            <a:r>
              <a:rPr lang="en-US" sz="2000" b="1" dirty="0">
                <a:solidFill>
                  <a:srgbClr val="1A6B25"/>
                </a:solidFill>
                <a:latin typeface="Calibri"/>
                <a:ea typeface="Calibri"/>
                <a:cs typeface="Calibri"/>
                <a:sym typeface="Calibri"/>
              </a:rPr>
              <a:t>NO HEPATITIS C</a:t>
            </a:r>
            <a:r>
              <a:rPr lang="en-US" sz="2000" dirty="0">
                <a:solidFill>
                  <a:srgbClr val="1A6B25"/>
                </a:solidFill>
                <a:latin typeface="Calibri"/>
                <a:ea typeface="Calibri"/>
                <a:cs typeface="Calibri"/>
                <a:sym typeface="Calibri"/>
              </a:rPr>
              <a:t>"</a:t>
            </a:r>
            <a:r>
              <a:rPr lang="en-US" sz="20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ertificates as incentives for screening or post-treatment cure. </a:t>
            </a:r>
            <a:endParaRPr dirty="0"/>
          </a:p>
        </p:txBody>
      </p:sp>
      <p:sp>
        <p:nvSpPr>
          <p:cNvPr id="375" name="Google Shape;375;g2f65612a29d_0_205"/>
          <p:cNvSpPr txBox="1"/>
          <p:nvPr/>
        </p:nvSpPr>
        <p:spPr>
          <a:xfrm>
            <a:off x="0" y="0"/>
            <a:ext cx="12192000" cy="573900"/>
          </a:xfrm>
          <a:prstGeom prst="rect">
            <a:avLst/>
          </a:prstGeom>
          <a:solidFill>
            <a:srgbClr val="B6D7A8">
              <a:alpha val="52160"/>
            </a:srgbClr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34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ational EMR – Provincial/National Data Integration</a:t>
            </a:r>
            <a:endParaRPr sz="3400" b="1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6" name="Google Shape;376;g2f65612a29d_0_205"/>
          <p:cNvSpPr txBox="1">
            <a:spLocks noGrp="1"/>
          </p:cNvSpPr>
          <p:nvPr>
            <p:ph type="sldNum" idx="12"/>
          </p:nvPr>
        </p:nvSpPr>
        <p:spPr>
          <a:xfrm>
            <a:off x="9296400" y="6584950"/>
            <a:ext cx="2743200" cy="3651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latin typeface="Calibri"/>
                <a:ea typeface="Calibri"/>
                <a:cs typeface="Calibri"/>
                <a:sym typeface="Calibri"/>
              </a:rPr>
              <a:t>7</a:t>
            </a:r>
            <a:endParaRPr sz="1200"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554027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81E46D-7AAE-CF69-C623-DBD8CD5C51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325369"/>
            <a:ext cx="4368602" cy="1956841"/>
          </a:xfrm>
        </p:spPr>
        <p:txBody>
          <a:bodyPr anchor="b">
            <a:normAutofit/>
          </a:bodyPr>
          <a:lstStyle/>
          <a:p>
            <a:r>
              <a:rPr lang="en-US" sz="4200" dirty="0"/>
              <a:t>Only WHO prequalified tests shall be use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0E7A43-C9CA-F2AB-5E0D-827E5C173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0080" y="2872899"/>
            <a:ext cx="4243589" cy="332066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b="1" dirty="0"/>
              <a:t>Rapid tests</a:t>
            </a:r>
          </a:p>
          <a:p>
            <a:r>
              <a:rPr lang="en-US" sz="2000" dirty="0"/>
              <a:t>SD </a:t>
            </a:r>
            <a:r>
              <a:rPr lang="en-US" sz="2000" dirty="0" err="1"/>
              <a:t>bioline</a:t>
            </a:r>
            <a:r>
              <a:rPr lang="en-US" sz="2000" dirty="0"/>
              <a:t> (Abbott)</a:t>
            </a:r>
          </a:p>
          <a:p>
            <a:r>
              <a:rPr lang="en-US" sz="2000" dirty="0" err="1"/>
              <a:t>Biosenser</a:t>
            </a:r>
            <a:r>
              <a:rPr lang="en-US" sz="2000" dirty="0"/>
              <a:t> (Korea)</a:t>
            </a:r>
          </a:p>
          <a:p>
            <a:r>
              <a:rPr lang="en-US" sz="2000" dirty="0"/>
              <a:t>Intec (China)</a:t>
            </a:r>
          </a:p>
          <a:p>
            <a:pPr marL="0" indent="0">
              <a:buNone/>
            </a:pPr>
            <a:r>
              <a:rPr lang="en-US" sz="2000" b="1" dirty="0"/>
              <a:t>PCR</a:t>
            </a:r>
          </a:p>
          <a:p>
            <a:r>
              <a:rPr lang="en-US" sz="2000" dirty="0"/>
              <a:t>Abbott</a:t>
            </a:r>
          </a:p>
          <a:p>
            <a:r>
              <a:rPr lang="en-US" sz="2000" dirty="0"/>
              <a:t>Roche</a:t>
            </a:r>
          </a:p>
          <a:p>
            <a:r>
              <a:rPr lang="en-US" sz="2000" dirty="0"/>
              <a:t>GeneXpert</a:t>
            </a:r>
          </a:p>
        </p:txBody>
      </p:sp>
      <p:pic>
        <p:nvPicPr>
          <p:cNvPr id="5" name="Picture 4" descr="Test tubes with samples on a test tube rack">
            <a:extLst>
              <a:ext uri="{FF2B5EF4-FFF2-40B4-BE49-F238E27FC236}">
                <a16:creationId xmlns:a16="http://schemas.microsoft.com/office/drawing/2014/main" id="{565579D9-AC04-1078-37E8-847F22ABB78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9795" r="13251" b="-1"/>
          <a:stretch/>
        </p:blipFill>
        <p:spPr>
          <a:xfrm>
            <a:off x="5311702" y="10"/>
            <a:ext cx="6878775" cy="6857990"/>
          </a:xfrm>
          <a:custGeom>
            <a:avLst/>
            <a:gdLst/>
            <a:ahLst/>
            <a:cxnLst/>
            <a:rect l="l" t="t" r="r" b="b"/>
            <a:pathLst>
              <a:path w="6878775" h="6858000">
                <a:moveTo>
                  <a:pt x="1102973" y="0"/>
                </a:moveTo>
                <a:lnTo>
                  <a:pt x="1160688" y="0"/>
                </a:lnTo>
                <a:lnTo>
                  <a:pt x="983189" y="331786"/>
                </a:lnTo>
                <a:cubicBezTo>
                  <a:pt x="914866" y="469145"/>
                  <a:pt x="850355" y="608712"/>
                  <a:pt x="789261" y="750263"/>
                </a:cubicBezTo>
                <a:cubicBezTo>
                  <a:pt x="774307" y="784928"/>
                  <a:pt x="759992" y="819849"/>
                  <a:pt x="745295" y="854514"/>
                </a:cubicBezTo>
                <a:cubicBezTo>
                  <a:pt x="756682" y="845393"/>
                  <a:pt x="765489" y="833492"/>
                  <a:pt x="770857" y="819975"/>
                </a:cubicBezTo>
                <a:cubicBezTo>
                  <a:pt x="879943" y="589569"/>
                  <a:pt x="999605" y="365513"/>
                  <a:pt x="1131329" y="148742"/>
                </a:cubicBezTo>
                <a:lnTo>
                  <a:pt x="1227589" y="0"/>
                </a:lnTo>
                <a:lnTo>
                  <a:pt x="6878775" y="0"/>
                </a:lnTo>
                <a:lnTo>
                  <a:pt x="6878775" y="6858000"/>
                </a:lnTo>
                <a:lnTo>
                  <a:pt x="713521" y="6858000"/>
                </a:lnTo>
                <a:lnTo>
                  <a:pt x="625642" y="6670527"/>
                </a:lnTo>
                <a:cubicBezTo>
                  <a:pt x="507232" y="6398531"/>
                  <a:pt x="403083" y="6118381"/>
                  <a:pt x="312785" y="5830359"/>
                </a:cubicBezTo>
                <a:cubicBezTo>
                  <a:pt x="278149" y="5719759"/>
                  <a:pt x="248879" y="5607635"/>
                  <a:pt x="212198" y="5480401"/>
                </a:cubicBezTo>
                <a:cubicBezTo>
                  <a:pt x="212208" y="5491601"/>
                  <a:pt x="212803" y="5502788"/>
                  <a:pt x="213988" y="5513923"/>
                </a:cubicBezTo>
                <a:cubicBezTo>
                  <a:pt x="264089" y="5723695"/>
                  <a:pt x="307290" y="5935370"/>
                  <a:pt x="365826" y="6142729"/>
                </a:cubicBezTo>
                <a:cubicBezTo>
                  <a:pt x="433152" y="6380817"/>
                  <a:pt x="510068" y="6614016"/>
                  <a:pt x="597975" y="6841549"/>
                </a:cubicBezTo>
                <a:lnTo>
                  <a:pt x="604824" y="6858000"/>
                </a:lnTo>
                <a:lnTo>
                  <a:pt x="552056" y="6858000"/>
                </a:lnTo>
                <a:lnTo>
                  <a:pt x="539576" y="6828295"/>
                </a:lnTo>
                <a:cubicBezTo>
                  <a:pt x="380597" y="6414594"/>
                  <a:pt x="260223" y="5988893"/>
                  <a:pt x="171555" y="5552906"/>
                </a:cubicBezTo>
                <a:cubicBezTo>
                  <a:pt x="91163" y="5157998"/>
                  <a:pt x="43746" y="4758899"/>
                  <a:pt x="12305" y="4357388"/>
                </a:cubicBezTo>
                <a:cubicBezTo>
                  <a:pt x="-14281" y="4013908"/>
                  <a:pt x="4507" y="3672965"/>
                  <a:pt x="46684" y="3331516"/>
                </a:cubicBezTo>
                <a:cubicBezTo>
                  <a:pt x="127203" y="2664286"/>
                  <a:pt x="277819" y="2007265"/>
                  <a:pt x="496065" y="1371196"/>
                </a:cubicBezTo>
                <a:cubicBezTo>
                  <a:pt x="636273" y="966066"/>
                  <a:pt x="800445" y="573253"/>
                  <a:pt x="995723" y="196614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18234374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106775-A595-F05D-EE77-9AE9ECBB91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325369"/>
            <a:ext cx="4368602" cy="1956841"/>
          </a:xfrm>
        </p:spPr>
        <p:txBody>
          <a:bodyPr anchor="b">
            <a:normAutofit/>
          </a:bodyPr>
          <a:lstStyle/>
          <a:p>
            <a:r>
              <a:rPr lang="en-US" sz="4200" b="1" dirty="0">
                <a:latin typeface="+mn-lt"/>
              </a:rPr>
              <a:t>HCV medicines-Made in Pakistan</a:t>
            </a:r>
            <a:br>
              <a:rPr lang="en-US" sz="4200" b="1" dirty="0">
                <a:latin typeface="+mn-lt"/>
              </a:rPr>
            </a:br>
            <a:endParaRPr lang="en-US" sz="42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4C5263-8896-2A63-6403-AB69513349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0080" y="2872899"/>
            <a:ext cx="4243589" cy="1125360"/>
          </a:xfrm>
        </p:spPr>
        <p:txBody>
          <a:bodyPr>
            <a:normAutofit/>
          </a:bodyPr>
          <a:lstStyle/>
          <a:p>
            <a:r>
              <a:rPr lang="en-US" sz="2200" b="1" dirty="0"/>
              <a:t>Generic SOF and DCV</a:t>
            </a:r>
            <a:r>
              <a:rPr lang="en-US" sz="2200" dirty="0"/>
              <a:t>: produced by 9 companies</a:t>
            </a:r>
            <a:endParaRPr lang="en-US" sz="2200" b="1" dirty="0"/>
          </a:p>
          <a:p>
            <a:pPr marL="0" indent="0">
              <a:buNone/>
            </a:pPr>
            <a:endParaRPr lang="en-US" sz="2200" dirty="0"/>
          </a:p>
        </p:txBody>
      </p:sp>
      <p:pic>
        <p:nvPicPr>
          <p:cNvPr id="5" name="Picture 4" descr="Capsules and pills inside a glass bowl">
            <a:extLst>
              <a:ext uri="{FF2B5EF4-FFF2-40B4-BE49-F238E27FC236}">
                <a16:creationId xmlns:a16="http://schemas.microsoft.com/office/drawing/2014/main" id="{78E7771A-EFA2-3CFA-6A66-E519A4238BB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24773"/>
          <a:stretch/>
        </p:blipFill>
        <p:spPr>
          <a:xfrm>
            <a:off x="5311702" y="10"/>
            <a:ext cx="6878775" cy="6857990"/>
          </a:xfrm>
          <a:custGeom>
            <a:avLst/>
            <a:gdLst/>
            <a:ahLst/>
            <a:cxnLst/>
            <a:rect l="l" t="t" r="r" b="b"/>
            <a:pathLst>
              <a:path w="6878775" h="6858000">
                <a:moveTo>
                  <a:pt x="1102973" y="0"/>
                </a:moveTo>
                <a:lnTo>
                  <a:pt x="1160688" y="0"/>
                </a:lnTo>
                <a:lnTo>
                  <a:pt x="983189" y="331786"/>
                </a:lnTo>
                <a:cubicBezTo>
                  <a:pt x="914866" y="469145"/>
                  <a:pt x="850355" y="608712"/>
                  <a:pt x="789261" y="750263"/>
                </a:cubicBezTo>
                <a:cubicBezTo>
                  <a:pt x="774307" y="784928"/>
                  <a:pt x="759992" y="819849"/>
                  <a:pt x="745295" y="854514"/>
                </a:cubicBezTo>
                <a:cubicBezTo>
                  <a:pt x="756682" y="845393"/>
                  <a:pt x="765489" y="833492"/>
                  <a:pt x="770857" y="819975"/>
                </a:cubicBezTo>
                <a:cubicBezTo>
                  <a:pt x="879943" y="589569"/>
                  <a:pt x="999605" y="365513"/>
                  <a:pt x="1131329" y="148742"/>
                </a:cubicBezTo>
                <a:lnTo>
                  <a:pt x="1227589" y="0"/>
                </a:lnTo>
                <a:lnTo>
                  <a:pt x="6878775" y="0"/>
                </a:lnTo>
                <a:lnTo>
                  <a:pt x="6878775" y="6858000"/>
                </a:lnTo>
                <a:lnTo>
                  <a:pt x="713521" y="6858000"/>
                </a:lnTo>
                <a:lnTo>
                  <a:pt x="625642" y="6670527"/>
                </a:lnTo>
                <a:cubicBezTo>
                  <a:pt x="507232" y="6398531"/>
                  <a:pt x="403083" y="6118381"/>
                  <a:pt x="312785" y="5830359"/>
                </a:cubicBezTo>
                <a:cubicBezTo>
                  <a:pt x="278149" y="5719759"/>
                  <a:pt x="248879" y="5607635"/>
                  <a:pt x="212198" y="5480401"/>
                </a:cubicBezTo>
                <a:cubicBezTo>
                  <a:pt x="212208" y="5491601"/>
                  <a:pt x="212803" y="5502788"/>
                  <a:pt x="213988" y="5513923"/>
                </a:cubicBezTo>
                <a:cubicBezTo>
                  <a:pt x="264089" y="5723695"/>
                  <a:pt x="307290" y="5935370"/>
                  <a:pt x="365826" y="6142729"/>
                </a:cubicBezTo>
                <a:cubicBezTo>
                  <a:pt x="433152" y="6380817"/>
                  <a:pt x="510068" y="6614016"/>
                  <a:pt x="597975" y="6841549"/>
                </a:cubicBezTo>
                <a:lnTo>
                  <a:pt x="604824" y="6858000"/>
                </a:lnTo>
                <a:lnTo>
                  <a:pt x="552056" y="6858000"/>
                </a:lnTo>
                <a:lnTo>
                  <a:pt x="539576" y="6828295"/>
                </a:lnTo>
                <a:cubicBezTo>
                  <a:pt x="380597" y="6414594"/>
                  <a:pt x="260223" y="5988893"/>
                  <a:pt x="171555" y="5552906"/>
                </a:cubicBezTo>
                <a:cubicBezTo>
                  <a:pt x="91163" y="5157998"/>
                  <a:pt x="43746" y="4758899"/>
                  <a:pt x="12305" y="4357388"/>
                </a:cubicBezTo>
                <a:cubicBezTo>
                  <a:pt x="-14281" y="4013908"/>
                  <a:pt x="4507" y="3672965"/>
                  <a:pt x="46684" y="3331516"/>
                </a:cubicBezTo>
                <a:cubicBezTo>
                  <a:pt x="127203" y="2664286"/>
                  <a:pt x="277819" y="2007265"/>
                  <a:pt x="496065" y="1371196"/>
                </a:cubicBezTo>
                <a:cubicBezTo>
                  <a:pt x="636273" y="966066"/>
                  <a:pt x="800445" y="573253"/>
                  <a:pt x="995723" y="196614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98918042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4" name="Google Shape;524;g2f65612a29d_0_149"/>
          <p:cNvSpPr txBox="1">
            <a:spLocks noGrp="1"/>
          </p:cNvSpPr>
          <p:nvPr>
            <p:ph type="body" idx="1"/>
          </p:nvPr>
        </p:nvSpPr>
        <p:spPr>
          <a:xfrm>
            <a:off x="1524000" y="1217614"/>
            <a:ext cx="8864700" cy="93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pic>
        <p:nvPicPr>
          <p:cNvPr id="525" name="Google Shape;525;g2f65612a29d_0_149"/>
          <p:cNvPicPr preferRelativeResize="0"/>
          <p:nvPr/>
        </p:nvPicPr>
        <p:blipFill rotWithShape="1">
          <a:blip r:embed="rId3">
            <a:alphaModFix/>
          </a:blip>
          <a:srcRect t="10289"/>
          <a:stretch/>
        </p:blipFill>
        <p:spPr>
          <a:xfrm>
            <a:off x="1" y="650578"/>
            <a:ext cx="12191998" cy="6152773"/>
          </a:xfrm>
          <a:prstGeom prst="rect">
            <a:avLst/>
          </a:prstGeom>
          <a:noFill/>
          <a:ln w="9525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pic>
      <p:sp>
        <p:nvSpPr>
          <p:cNvPr id="526" name="Google Shape;526;g2f65612a29d_0_149"/>
          <p:cNvSpPr txBox="1"/>
          <p:nvPr/>
        </p:nvSpPr>
        <p:spPr>
          <a:xfrm>
            <a:off x="0" y="0"/>
            <a:ext cx="12192000" cy="573900"/>
          </a:xfrm>
          <a:prstGeom prst="rect">
            <a:avLst/>
          </a:prstGeom>
          <a:solidFill>
            <a:srgbClr val="B6D7A8">
              <a:alpha val="52160"/>
            </a:srgbClr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34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Health Facilities Map of Pakistan</a:t>
            </a:r>
            <a:endParaRPr sz="3400" b="1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6952656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DD86D92D-10CC-F720-857B-F359B90D15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988" y="439615"/>
            <a:ext cx="10626968" cy="6283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C66CF41-44AB-BF9C-DCFA-88397A974708}"/>
              </a:ext>
            </a:extLst>
          </p:cNvPr>
          <p:cNvSpPr txBox="1"/>
          <p:nvPr/>
        </p:nvSpPr>
        <p:spPr>
          <a:xfrm>
            <a:off x="3423137" y="0"/>
            <a:ext cx="71862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 PCR Capacity in Pakistan</a:t>
            </a:r>
          </a:p>
        </p:txBody>
      </p:sp>
    </p:spTree>
    <p:extLst>
      <p:ext uri="{BB962C8B-B14F-4D97-AF65-F5344CB8AC3E}">
        <p14:creationId xmlns:p14="http://schemas.microsoft.com/office/powerpoint/2010/main" val="4751053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C65C9C-30C0-A4C2-02F1-C7C54C071A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position of the Projec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7DEE87-3D51-31E2-9E14-C049E0A5D60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1</a:t>
            </a:r>
            <a:r>
              <a:rPr lang="en-US" baseline="30000" dirty="0"/>
              <a:t>st</a:t>
            </a:r>
            <a:r>
              <a:rPr lang="en-US" dirty="0"/>
              <a:t> tranche released</a:t>
            </a:r>
          </a:p>
          <a:p>
            <a:r>
              <a:rPr lang="en-US" dirty="0"/>
              <a:t>Prequalification of the vendors done</a:t>
            </a:r>
          </a:p>
          <a:p>
            <a:r>
              <a:rPr lang="en-US" dirty="0"/>
              <a:t>Procurement will start in next few weeks</a:t>
            </a:r>
          </a:p>
          <a:p>
            <a:r>
              <a:rPr lang="en-US" dirty="0"/>
              <a:t>The workforce for the main federal office (PMU) has been advertised</a:t>
            </a:r>
          </a:p>
          <a:p>
            <a:r>
              <a:rPr lang="en-US" dirty="0"/>
              <a:t>We should be in the fields by 3</a:t>
            </a:r>
            <a:r>
              <a:rPr lang="en-US" baseline="30000" dirty="0"/>
              <a:t>rd</a:t>
            </a:r>
            <a:r>
              <a:rPr lang="en-US" dirty="0"/>
              <a:t> quarter of 2025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75589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6;p23">
            <a:extLst>
              <a:ext uri="{FF2B5EF4-FFF2-40B4-BE49-F238E27FC236}">
                <a16:creationId xmlns:a16="http://schemas.microsoft.com/office/drawing/2014/main" id="{721600FE-CA9B-7744-A9B0-983D1190648A}"/>
              </a:ext>
            </a:extLst>
          </p:cNvPr>
          <p:cNvSpPr txBox="1"/>
          <p:nvPr/>
        </p:nvSpPr>
        <p:spPr>
          <a:xfrm>
            <a:off x="5380474" y="6571175"/>
            <a:ext cx="1859068" cy="189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675" tIns="45675" rIns="45675" bIns="45675" anchor="t" anchorCtr="0">
            <a:noAutofit/>
          </a:bodyPr>
          <a:lstStyle/>
          <a:p>
            <a:pPr marL="50800" marR="0" lvl="0" indent="-50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8080"/>
              </a:buClr>
              <a:buSzPts val="800"/>
              <a:buFont typeface="Arial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© 2022. Confidential and Proprietary</a:t>
            </a:r>
            <a:endParaRPr kumimoji="0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" name="Google Shape;579;p3">
            <a:extLst>
              <a:ext uri="{FF2B5EF4-FFF2-40B4-BE49-F238E27FC236}">
                <a16:creationId xmlns:a16="http://schemas.microsoft.com/office/drawing/2014/main" id="{13FCCC93-60FC-1548-B461-319178EC5F4D}"/>
              </a:ext>
            </a:extLst>
          </p:cNvPr>
          <p:cNvSpPr txBox="1"/>
          <p:nvPr/>
        </p:nvSpPr>
        <p:spPr>
          <a:xfrm>
            <a:off x="495299" y="132145"/>
            <a:ext cx="11024253" cy="7676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lvl="0"/>
            <a:r>
              <a:rPr lang="en-US" sz="2000" b="1" dirty="0">
                <a:solidFill>
                  <a:prstClr val="black"/>
                </a:solidFill>
              </a:rPr>
              <a:t>Pakistan is now home to the </a:t>
            </a:r>
            <a:r>
              <a:rPr lang="en-US" sz="2000" b="1" dirty="0">
                <a:solidFill>
                  <a:srgbClr val="FF0000"/>
                </a:solidFill>
              </a:rPr>
              <a:t>Word’s largest population of people living with Hepatitis C </a:t>
            </a:r>
            <a:r>
              <a:rPr lang="en-US" sz="2000" b="1" dirty="0">
                <a:solidFill>
                  <a:prstClr val="black"/>
                </a:solidFill>
              </a:rPr>
              <a:t>infection 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9A94101C-A200-C3B0-3D76-9C0F61057D0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70076" t="-1133" r="2946" b="5470"/>
          <a:stretch/>
        </p:blipFill>
        <p:spPr>
          <a:xfrm>
            <a:off x="7670530" y="1807125"/>
            <a:ext cx="2454465" cy="451894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6729018" y="1264460"/>
            <a:ext cx="498303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rgbClr val="051C2C"/>
                </a:solidFill>
                <a:latin typeface="+mj-lt"/>
              </a:rPr>
              <a:t>10 Million Pakistanis</a:t>
            </a:r>
            <a:r>
              <a:rPr lang="en-US" sz="1600" dirty="0">
                <a:solidFill>
                  <a:srgbClr val="051C2C"/>
                </a:solidFill>
                <a:latin typeface="+mj-lt"/>
              </a:rPr>
              <a:t>** are living with </a:t>
            </a:r>
            <a:r>
              <a:rPr lang="en-US" sz="1600" dirty="0" err="1">
                <a:solidFill>
                  <a:srgbClr val="051C2C"/>
                </a:solidFill>
                <a:latin typeface="+mj-lt"/>
              </a:rPr>
              <a:t>viremic</a:t>
            </a:r>
            <a:r>
              <a:rPr lang="en-US" sz="1600" dirty="0">
                <a:solidFill>
                  <a:srgbClr val="051C2C"/>
                </a:solidFill>
                <a:latin typeface="+mj-lt"/>
              </a:rPr>
              <a:t> infection and actively in need of Diagnosis and Cure</a:t>
            </a:r>
          </a:p>
        </p:txBody>
      </p:sp>
      <p:sp>
        <p:nvSpPr>
          <p:cNvPr id="8" name="Rectangle 7"/>
          <p:cNvSpPr/>
          <p:nvPr/>
        </p:nvSpPr>
        <p:spPr>
          <a:xfrm>
            <a:off x="7670530" y="2191375"/>
            <a:ext cx="2738066" cy="24761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4. Footnote">
            <a:extLst>
              <a:ext uri="{FF2B5EF4-FFF2-40B4-BE49-F238E27FC236}">
                <a16:creationId xmlns:a16="http://schemas.microsoft.com/office/drawing/2014/main" id="{8C937467-8061-4E6E-AC6A-5213614DFCB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553972" y="648217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</a:rPr>
              <a:t>* WHO 2019</a:t>
            </a:r>
            <a:r>
              <a:rPr kumimoji="0" lang="en-US" sz="1000" b="0" i="0" u="none" strike="noStrike" kern="1200" cap="none" spc="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</a:rPr>
              <a:t> estimate</a:t>
            </a:r>
          </a:p>
          <a:p>
            <a:pPr marL="0" lvl="0" indent="0">
              <a:defRPr/>
            </a:pPr>
            <a:r>
              <a:rPr lang="de-DE" sz="1000" dirty="0">
                <a:solidFill>
                  <a:schemeClr val="bg2"/>
                </a:solidFill>
                <a:latin typeface="+mj-lt"/>
              </a:rPr>
              <a:t>** </a:t>
            </a:r>
            <a:r>
              <a:rPr lang="en-US" sz="1000" dirty="0">
                <a:solidFill>
                  <a:schemeClr val="bg2"/>
                </a:solidFill>
                <a:latin typeface="+mj-lt"/>
              </a:rPr>
              <a:t>Global Epidemiology of Viral Hepatitis by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</a:rPr>
              <a:t>CDA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</a:rPr>
              <a:t>foundation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</a:rPr>
              <a:t> 2020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37158" y="1275680"/>
            <a:ext cx="587285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600" b="1" dirty="0">
                <a:solidFill>
                  <a:srgbClr val="051C2C"/>
                </a:solidFill>
                <a:latin typeface="+mj-lt"/>
              </a:rPr>
              <a:t>Global burden of Hepatitis C </a:t>
            </a:r>
            <a:r>
              <a:rPr lang="en-US" sz="1600" b="1" dirty="0" err="1">
                <a:solidFill>
                  <a:srgbClr val="051C2C"/>
                </a:solidFill>
                <a:latin typeface="+mj-lt"/>
              </a:rPr>
              <a:t>viraemic</a:t>
            </a:r>
            <a:r>
              <a:rPr lang="en-US" sz="1600" b="1" dirty="0">
                <a:solidFill>
                  <a:srgbClr val="051C2C"/>
                </a:solidFill>
                <a:latin typeface="+mj-lt"/>
              </a:rPr>
              <a:t> infection, 2019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+mj-lt"/>
              </a:rPr>
              <a:t>*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0579" y="1807125"/>
            <a:ext cx="6079455" cy="4096345"/>
          </a:xfrm>
          <a:prstGeom prst="rect">
            <a:avLst/>
          </a:prstGeom>
        </p:spPr>
      </p:pic>
      <p:cxnSp>
        <p:nvCxnSpPr>
          <p:cNvPr id="16" name="LineBasicVerticalDefault 13">
            <a:extLst>
              <a:ext uri="{FF2B5EF4-FFF2-40B4-BE49-F238E27FC236}">
                <a16:creationId xmlns:a16="http://schemas.microsoft.com/office/drawing/2014/main" id="{09EF9080-96B9-416B-9885-8AFAA5647162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6690221" y="1756116"/>
            <a:ext cx="0" cy="4441047"/>
          </a:xfrm>
          <a:prstGeom prst="straightConnector1">
            <a:avLst/>
          </a:prstGeom>
          <a:ln w="635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id="{A02B2A80-65A3-4704-B124-8450FCCA4439}"/>
              </a:ext>
            </a:extLst>
          </p:cNvPr>
          <p:cNvSpPr/>
          <p:nvPr/>
        </p:nvSpPr>
        <p:spPr>
          <a:xfrm>
            <a:off x="6497720" y="3327755"/>
            <a:ext cx="396228" cy="396228"/>
          </a:xfrm>
          <a:prstGeom prst="ellipse">
            <a:avLst/>
          </a:prstGeom>
          <a:solidFill>
            <a:srgbClr val="051C2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Freeform: Shape 36">
            <a:extLst>
              <a:ext uri="{FF2B5EF4-FFF2-40B4-BE49-F238E27FC236}">
                <a16:creationId xmlns:a16="http://schemas.microsoft.com/office/drawing/2014/main" id="{CD22A8B6-5AF0-4015-9AE5-77127840E1E4}"/>
              </a:ext>
            </a:extLst>
          </p:cNvPr>
          <p:cNvSpPr>
            <a:spLocks noChangeAspect="1"/>
          </p:cNvSpPr>
          <p:nvPr/>
        </p:nvSpPr>
        <p:spPr>
          <a:xfrm>
            <a:off x="6649654" y="3428241"/>
            <a:ext cx="103571" cy="195256"/>
          </a:xfrm>
          <a:custGeom>
            <a:avLst/>
            <a:gdLst/>
            <a:ahLst/>
            <a:cxnLst/>
            <a:rect l="0" t="0" r="0" b="0"/>
            <a:pathLst>
              <a:path w="103601" h="195312">
                <a:moveTo>
                  <a:pt x="9358" y="193790"/>
                </a:moveTo>
                <a:lnTo>
                  <a:pt x="101575" y="101574"/>
                </a:lnTo>
                <a:lnTo>
                  <a:pt x="103600" y="99549"/>
                </a:lnTo>
                <a:lnTo>
                  <a:pt x="103600" y="96266"/>
                </a:lnTo>
                <a:lnTo>
                  <a:pt x="101575" y="94241"/>
                </a:lnTo>
                <a:lnTo>
                  <a:pt x="9358" y="2025"/>
                </a:lnTo>
                <a:lnTo>
                  <a:pt x="7332" y="0"/>
                </a:lnTo>
                <a:lnTo>
                  <a:pt x="4049" y="0"/>
                </a:lnTo>
                <a:lnTo>
                  <a:pt x="2026" y="2025"/>
                </a:lnTo>
                <a:lnTo>
                  <a:pt x="0" y="4048"/>
                </a:lnTo>
                <a:lnTo>
                  <a:pt x="0" y="7331"/>
                </a:lnTo>
                <a:lnTo>
                  <a:pt x="2026" y="9357"/>
                </a:lnTo>
                <a:lnTo>
                  <a:pt x="90576" y="97907"/>
                </a:lnTo>
                <a:lnTo>
                  <a:pt x="2026" y="186459"/>
                </a:lnTo>
                <a:lnTo>
                  <a:pt x="0" y="188483"/>
                </a:lnTo>
                <a:lnTo>
                  <a:pt x="0" y="191766"/>
                </a:lnTo>
                <a:lnTo>
                  <a:pt x="2026" y="193790"/>
                </a:lnTo>
                <a:lnTo>
                  <a:pt x="3040" y="194805"/>
                </a:lnTo>
                <a:lnTo>
                  <a:pt x="4366" y="195311"/>
                </a:lnTo>
                <a:lnTo>
                  <a:pt x="5692" y="195311"/>
                </a:lnTo>
                <a:lnTo>
                  <a:pt x="7017" y="195311"/>
                </a:lnTo>
                <a:lnTo>
                  <a:pt x="8348" y="194805"/>
                </a:lnTo>
                <a:close/>
              </a:path>
            </a:pathLst>
          </a:cu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371420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82F556-B63D-B667-30A8-722EF2F90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8246" y="379413"/>
            <a:ext cx="10515600" cy="1325563"/>
          </a:xfrm>
        </p:spPr>
        <p:txBody>
          <a:bodyPr/>
          <a:lstStyle/>
          <a:p>
            <a:r>
              <a:rPr lang="en-US" dirty="0"/>
              <a:t>Challenges addressed: 1.Paper based dat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71D451-AE2D-A4B2-2239-F87CB34BF2A6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Only one province was using EMR, rest were using paper -based data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3AB8441-2997-1694-1D5A-DBF807A56744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All provinces now shifted to </a:t>
            </a:r>
            <a:r>
              <a:rPr lang="en-US" b="1" dirty="0">
                <a:solidFill>
                  <a:srgbClr val="0000FF"/>
                </a:solidFill>
              </a:rPr>
              <a:t>electronic data entry</a:t>
            </a:r>
          </a:p>
          <a:p>
            <a:r>
              <a:rPr lang="en-US" dirty="0"/>
              <a:t>All public and private sites that agree and fulfill the requirements have been engaged &amp; given a code </a:t>
            </a:r>
          </a:p>
          <a:p>
            <a:r>
              <a:rPr lang="en-US" b="1" dirty="0">
                <a:solidFill>
                  <a:srgbClr val="0000FF"/>
                </a:solidFill>
              </a:rPr>
              <a:t>Censes and NADRA</a:t>
            </a:r>
            <a:r>
              <a:rPr lang="en-US" dirty="0"/>
              <a:t> is engaged to prevent duplication </a:t>
            </a:r>
          </a:p>
          <a:p>
            <a:r>
              <a:rPr lang="en-US" dirty="0"/>
              <a:t>Personal identifiers like mobile phone and CNIC number are used for all persons who undergo screening, testing or treatment </a:t>
            </a:r>
          </a:p>
        </p:txBody>
      </p:sp>
      <p:pic>
        <p:nvPicPr>
          <p:cNvPr id="5" name="Picture 4" descr="Text&#10;&#10;Description automatically generated with low confidence">
            <a:extLst>
              <a:ext uri="{FF2B5EF4-FFF2-40B4-BE49-F238E27FC236}">
                <a16:creationId xmlns:a16="http://schemas.microsoft.com/office/drawing/2014/main" id="{75AE2472-2798-384F-F917-C591531BBF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102850" y="205604"/>
            <a:ext cx="1850904" cy="1642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96458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4B9F0C-EB38-ED46-C9B0-9351666EF1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llenges addressed: 2. Silent kill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A207B9-F935-2BC8-3543-530EE53E773F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Large population is unaware of disease</a:t>
            </a:r>
          </a:p>
          <a:p>
            <a:r>
              <a:rPr lang="en-US" dirty="0"/>
              <a:t>No specific signs and symptom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5E09C7-5413-3924-5DB6-E6C1F01C7595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b="1" dirty="0">
                <a:solidFill>
                  <a:srgbClr val="0000FF"/>
                </a:solidFill>
              </a:rPr>
              <a:t>Mass campaigns </a:t>
            </a:r>
            <a:r>
              <a:rPr lang="en-US" dirty="0"/>
              <a:t>to increase awareness and bring people out for screening</a:t>
            </a:r>
          </a:p>
          <a:p>
            <a:r>
              <a:rPr lang="en-US" dirty="0"/>
              <a:t>Using WHO prequalified POC rapid test </a:t>
            </a:r>
          </a:p>
          <a:p>
            <a:r>
              <a:rPr lang="en-US" dirty="0"/>
              <a:t>Active and passive HCV screening is undertaken on all who visit health facility for any reason</a:t>
            </a:r>
          </a:p>
          <a:p>
            <a:r>
              <a:rPr lang="en-US" b="1" dirty="0">
                <a:solidFill>
                  <a:srgbClr val="0000FF"/>
                </a:solidFill>
              </a:rPr>
              <a:t>Engage private sector </a:t>
            </a:r>
            <a:r>
              <a:rPr lang="en-US" dirty="0"/>
              <a:t>in active and passive screening of all adults &gt;12 years</a:t>
            </a:r>
          </a:p>
        </p:txBody>
      </p:sp>
      <p:pic>
        <p:nvPicPr>
          <p:cNvPr id="5" name="Picture 4" descr="Text&#10;&#10;Description automatically generated with low confidence">
            <a:extLst>
              <a:ext uri="{FF2B5EF4-FFF2-40B4-BE49-F238E27FC236}">
                <a16:creationId xmlns:a16="http://schemas.microsoft.com/office/drawing/2014/main" id="{BD1C9245-C998-ACCA-86CC-E6C870887D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102850" y="205604"/>
            <a:ext cx="1850904" cy="1642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751306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8B12B1-6A81-C007-9B7B-27A9131908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llenges addressed: 3. Issues of LIMC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9C0D084-D92F-7659-5C95-5CC2A8963E0D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1</a:t>
            </a:r>
            <a:r>
              <a:rPr lang="en-US" baseline="30000" dirty="0"/>
              <a:t>st</a:t>
            </a:r>
            <a:r>
              <a:rPr lang="en-US" dirty="0"/>
              <a:t> level care BHUs &amp; RHCs were not very functional</a:t>
            </a:r>
          </a:p>
          <a:p>
            <a:r>
              <a:rPr lang="en-US" dirty="0"/>
              <a:t>Issues of HR, power supply, internet, equipment</a:t>
            </a:r>
          </a:p>
          <a:p>
            <a:r>
              <a:rPr lang="en-US" dirty="0"/>
              <a:t>Patients travel long distances to reach secondary and tertiary care health facilities</a:t>
            </a:r>
          </a:p>
          <a:p>
            <a:r>
              <a:rPr lang="en-US" dirty="0"/>
              <a:t>Timings of health faciliti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838B7C9-BF24-1C6B-39AC-AF88748E4137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r>
              <a:rPr lang="en-US" dirty="0"/>
              <a:t>Strengthened BHUs &amp; RHCs to undertake RDT and enter data in computer (on line/off line).</a:t>
            </a:r>
          </a:p>
          <a:p>
            <a:r>
              <a:rPr lang="en-US" dirty="0"/>
              <a:t>Take </a:t>
            </a:r>
            <a:r>
              <a:rPr lang="en-US" b="1" dirty="0">
                <a:solidFill>
                  <a:srgbClr val="0000FF"/>
                </a:solidFill>
              </a:rPr>
              <a:t>reflex blood testing </a:t>
            </a:r>
            <a:r>
              <a:rPr lang="en-US" dirty="0"/>
              <a:t>to ensure no one is missed</a:t>
            </a:r>
          </a:p>
          <a:p>
            <a:r>
              <a:rPr lang="en-US" b="1" dirty="0">
                <a:solidFill>
                  <a:srgbClr val="0000FF"/>
                </a:solidFill>
              </a:rPr>
              <a:t>Blood samples are sent to main lab in cool boxes</a:t>
            </a:r>
            <a:endParaRPr lang="en-US" dirty="0"/>
          </a:p>
          <a:p>
            <a:r>
              <a:rPr lang="en-US" b="1" dirty="0">
                <a:solidFill>
                  <a:srgbClr val="0000FF"/>
                </a:solidFill>
              </a:rPr>
              <a:t>Engage private sector </a:t>
            </a:r>
            <a:r>
              <a:rPr lang="en-US" dirty="0"/>
              <a:t>at all levels of creating awareness, screening, testing and treatment</a:t>
            </a:r>
          </a:p>
          <a:p>
            <a:endParaRPr lang="en-US" dirty="0"/>
          </a:p>
        </p:txBody>
      </p:sp>
      <p:pic>
        <p:nvPicPr>
          <p:cNvPr id="5" name="Picture 4" descr="Text&#10;&#10;Description automatically generated with low confidence">
            <a:extLst>
              <a:ext uri="{FF2B5EF4-FFF2-40B4-BE49-F238E27FC236}">
                <a16:creationId xmlns:a16="http://schemas.microsoft.com/office/drawing/2014/main" id="{2FD7E646-BED0-3E22-66F0-4449B17DA5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102850" y="205604"/>
            <a:ext cx="1850904" cy="1642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362324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8B12B1-6A81-C007-9B7B-27A9131908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llenges addressed: 4. PCR test and its report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9C0D084-D92F-7659-5C95-5CC2A8963E0D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/>
              <a:t>PCR reporting is delayed for many days-week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838B7C9-BF24-1C6B-39AC-AF88748E4137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b="1" dirty="0">
                <a:solidFill>
                  <a:srgbClr val="0000FF"/>
                </a:solidFill>
              </a:rPr>
              <a:t>PCR reporting is done daily.</a:t>
            </a:r>
          </a:p>
          <a:p>
            <a:r>
              <a:rPr lang="en-US" b="1" dirty="0">
                <a:solidFill>
                  <a:srgbClr val="0000FF"/>
                </a:solidFill>
              </a:rPr>
              <a:t>We have adequate machines</a:t>
            </a:r>
          </a:p>
          <a:p>
            <a:r>
              <a:rPr lang="en-US" b="1" dirty="0">
                <a:solidFill>
                  <a:srgbClr val="0000FF"/>
                </a:solidFill>
              </a:rPr>
              <a:t>Electronic reporting </a:t>
            </a:r>
            <a:r>
              <a:rPr lang="en-US" dirty="0"/>
              <a:t>to ease quick linkage to care</a:t>
            </a:r>
          </a:p>
          <a:p>
            <a:r>
              <a:rPr lang="en-US" dirty="0"/>
              <a:t>Mobile companies engaged to send reports to the patients</a:t>
            </a:r>
          </a:p>
        </p:txBody>
      </p:sp>
      <p:pic>
        <p:nvPicPr>
          <p:cNvPr id="5" name="Picture 4" descr="Text&#10;&#10;Description automatically generated with low confidence">
            <a:extLst>
              <a:ext uri="{FF2B5EF4-FFF2-40B4-BE49-F238E27FC236}">
                <a16:creationId xmlns:a16="http://schemas.microsoft.com/office/drawing/2014/main" id="{6C18B1BD-46B4-FE9A-3488-84490AD3A8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102850" y="205604"/>
            <a:ext cx="1850904" cy="1642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3800997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8B12B1-6A81-C007-9B7B-27A9131908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llenges addressed:5. Treat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9C0D084-D92F-7659-5C95-5CC2A8963E0D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/>
              <a:t>Who and where should the treatment be dispensed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838B7C9-BF24-1C6B-39AC-AF88748E4137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b="1" dirty="0">
                <a:solidFill>
                  <a:srgbClr val="0000FF"/>
                </a:solidFill>
              </a:rPr>
              <a:t>Decentralisation and task shifting</a:t>
            </a:r>
            <a:r>
              <a:rPr lang="en-US" dirty="0"/>
              <a:t>-WHO’s recommendations</a:t>
            </a:r>
          </a:p>
          <a:p>
            <a:r>
              <a:rPr lang="en-US" dirty="0"/>
              <a:t>National HCV testing and treatment guidelines- </a:t>
            </a:r>
            <a:r>
              <a:rPr lang="en-US" b="1" dirty="0">
                <a:solidFill>
                  <a:srgbClr val="0000FF"/>
                </a:solidFill>
              </a:rPr>
              <a:t>nurse or HCW can provide treatment</a:t>
            </a:r>
          </a:p>
          <a:p>
            <a:r>
              <a:rPr lang="en-US" dirty="0"/>
              <a:t>The </a:t>
            </a:r>
            <a:r>
              <a:rPr lang="en-US" b="1" dirty="0">
                <a:solidFill>
                  <a:srgbClr val="0000FF"/>
                </a:solidFill>
              </a:rPr>
              <a:t>primary care physician </a:t>
            </a:r>
            <a:r>
              <a:rPr lang="en-US" dirty="0"/>
              <a:t>should (public/</a:t>
            </a:r>
            <a:r>
              <a:rPr lang="en-US" dirty="0" err="1"/>
              <a:t>pvt</a:t>
            </a:r>
            <a:r>
              <a:rPr lang="en-US" dirty="0"/>
              <a:t>) dispense the treatment and follow the patient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5" name="Picture 4" descr="Text&#10;&#10;Description automatically generated with low confidence">
            <a:extLst>
              <a:ext uri="{FF2B5EF4-FFF2-40B4-BE49-F238E27FC236}">
                <a16:creationId xmlns:a16="http://schemas.microsoft.com/office/drawing/2014/main" id="{1717E8FB-4D18-6B71-B391-82EF303528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102850" y="205604"/>
            <a:ext cx="1850904" cy="1642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9826612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DBE6355-526E-E804-4C64-C2602C480F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</a:t>
            </a:r>
            <a:br>
              <a:rPr lang="en-US" dirty="0"/>
            </a:b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8D5BCC8A-60B2-51D9-0AB9-DD1641BA0C7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dirty="0">
                <a:solidFill>
                  <a:schemeClr val="tx1"/>
                </a:solidFill>
              </a:rPr>
              <a:t>Pakistan has the highest HCV infected population</a:t>
            </a:r>
          </a:p>
          <a:p>
            <a:r>
              <a:rPr lang="en-US" sz="2400" dirty="0"/>
              <a:t>About 10 million cases are about to get diagnosed and treated through the </a:t>
            </a:r>
            <a:r>
              <a:rPr lang="en-US" sz="2400" dirty="0">
                <a:solidFill>
                  <a:schemeClr val="tx1"/>
                </a:solidFill>
              </a:rPr>
              <a:t>PM program   </a:t>
            </a:r>
          </a:p>
          <a:p>
            <a:r>
              <a:rPr lang="en-US" sz="2400" dirty="0"/>
              <a:t>Apart from public sector, Private sector and NGOs are also engaged</a:t>
            </a:r>
          </a:p>
          <a:p>
            <a:r>
              <a:rPr lang="en-US" sz="2400" dirty="0">
                <a:solidFill>
                  <a:schemeClr val="tx1"/>
                </a:solidFill>
              </a:rPr>
              <a:t>Challenges are many but can be addressed with joint efforts of all stakeholders </a:t>
            </a:r>
          </a:p>
          <a:p>
            <a:r>
              <a:rPr lang="en-US" sz="2400" dirty="0"/>
              <a:t>Together we can eliminate hepatitis C from Pakistan</a:t>
            </a:r>
          </a:p>
          <a:p>
            <a:pPr marL="0" indent="0">
              <a:buNone/>
            </a:pPr>
            <a:endParaRPr lang="en-US" sz="2400" dirty="0">
              <a:solidFill>
                <a:schemeClr val="tx1"/>
              </a:solidFill>
            </a:endParaRPr>
          </a:p>
        </p:txBody>
      </p:sp>
      <p:pic>
        <p:nvPicPr>
          <p:cNvPr id="4" name="Picture 4" descr="Text&#10;&#10;Description automatically generated with low confidence">
            <a:extLst>
              <a:ext uri="{FF2B5EF4-FFF2-40B4-BE49-F238E27FC236}">
                <a16:creationId xmlns:a16="http://schemas.microsoft.com/office/drawing/2014/main" id="{3FD859FF-B845-6ECD-D98D-11D2855EB6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102850" y="205604"/>
            <a:ext cx="1850904" cy="1642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818310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ubtitle 7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itle 4"/>
          <p:cNvSpPr txBox="1">
            <a:spLocks/>
          </p:cNvSpPr>
          <p:nvPr/>
        </p:nvSpPr>
        <p:spPr>
          <a:xfrm>
            <a:off x="547687" y="1230255"/>
            <a:ext cx="11219439" cy="118186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75482" rtl="0" eaLnBrk="1" latinLnBrk="0" hangingPunct="1">
              <a:spcBef>
                <a:spcPct val="0"/>
              </a:spcBef>
              <a:buNone/>
              <a:defRPr sz="3800" b="1" kern="1200" cap="all" baseline="0">
                <a:solidFill>
                  <a:srgbClr val="0070C0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7548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+mj-cs"/>
              </a:rPr>
              <a:t>Thank you</a:t>
            </a:r>
            <a:endParaRPr kumimoji="0" lang="en-US" sz="3800" b="1" i="0" u="none" strike="noStrike" kern="1200" cap="all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0" y="3861663"/>
            <a:ext cx="12192000" cy="3014810"/>
          </a:xfrm>
          <a:prstGeom prst="rect">
            <a:avLst/>
          </a:prstGeom>
          <a:solidFill>
            <a:srgbClr val="01411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26" name="Picture 2" descr="Prime Minister of Pakistan - Wikipedia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1478" y="4265445"/>
            <a:ext cx="3310865" cy="2207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101283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7E429B-DDCE-1E2B-A702-64C58073DF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tricts with high HCV Prevalence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B9061B78-B978-1A2D-4B0D-1CA995D619DB}"/>
              </a:ext>
            </a:extLst>
          </p:cNvPr>
          <p:cNvGraphicFramePr>
            <a:graphicFrameLocks noGrp="1"/>
          </p:cNvGraphicFramePr>
          <p:nvPr>
            <p:ph sz="half" idx="1"/>
          </p:nvPr>
        </p:nvGraphicFramePr>
        <p:xfrm>
          <a:off x="914400" y="1386042"/>
          <a:ext cx="5181600" cy="571842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638908">
                  <a:extLst>
                    <a:ext uri="{9D8B030D-6E8A-4147-A177-3AD203B41FA5}">
                      <a16:colId xmlns:a16="http://schemas.microsoft.com/office/drawing/2014/main" val="1990141840"/>
                    </a:ext>
                  </a:extLst>
                </a:gridCol>
                <a:gridCol w="4542692">
                  <a:extLst>
                    <a:ext uri="{9D8B030D-6E8A-4147-A177-3AD203B41FA5}">
                      <a16:colId xmlns:a16="http://schemas.microsoft.com/office/drawing/2014/main" val="3317835218"/>
                    </a:ext>
                  </a:extLst>
                </a:gridCol>
              </a:tblGrid>
              <a:tr h="63201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 dirty="0">
                          <a:effectLst/>
                        </a:rPr>
                        <a:t>S.N.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kern="100" dirty="0">
                          <a:effectLst/>
                        </a:rPr>
                        <a:t>Name of the districts- Punjab (</a:t>
                      </a:r>
                      <a:r>
                        <a:rPr lang="en-US" sz="1800" kern="100" dirty="0">
                          <a:effectLst/>
                        </a:rPr>
                        <a:t>42,548,822)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2850862232"/>
                  </a:ext>
                </a:extLst>
              </a:tr>
              <a:tr h="19575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1</a:t>
                      </a:r>
                      <a:endParaRPr lang="en-US" sz="16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Vehari</a:t>
                      </a:r>
                      <a:endParaRPr lang="en-US" sz="16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2484180562"/>
                  </a:ext>
                </a:extLst>
              </a:tr>
              <a:tr h="19575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2</a:t>
                      </a:r>
                      <a:endParaRPr lang="en-US" sz="16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Hafizabad</a:t>
                      </a:r>
                      <a:endParaRPr lang="en-US" sz="16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4007299223"/>
                  </a:ext>
                </a:extLst>
              </a:tr>
              <a:tr h="19575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>
                          <a:effectLst/>
                        </a:rPr>
                        <a:t>3</a:t>
                      </a:r>
                      <a:endParaRPr lang="en-US" sz="16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Pakpattan</a:t>
                      </a:r>
                      <a:endParaRPr lang="en-US" sz="16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1549733502"/>
                  </a:ext>
                </a:extLst>
              </a:tr>
              <a:tr h="19575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>
                          <a:effectLst/>
                        </a:rPr>
                        <a:t>4</a:t>
                      </a:r>
                      <a:endParaRPr lang="en-US" sz="16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Okara</a:t>
                      </a:r>
                      <a:endParaRPr lang="en-US" sz="16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1456823652"/>
                  </a:ext>
                </a:extLst>
              </a:tr>
              <a:tr h="19575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>
                          <a:effectLst/>
                        </a:rPr>
                        <a:t>5</a:t>
                      </a:r>
                      <a:endParaRPr lang="en-US" sz="16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Lahore</a:t>
                      </a:r>
                      <a:endParaRPr lang="en-US" sz="16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2757074976"/>
                  </a:ext>
                </a:extLst>
              </a:tr>
              <a:tr h="19575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>
                          <a:effectLst/>
                        </a:rPr>
                        <a:t>6</a:t>
                      </a:r>
                      <a:endParaRPr lang="en-US" sz="16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Chiniot</a:t>
                      </a:r>
                      <a:endParaRPr lang="en-US" sz="16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3897932927"/>
                  </a:ext>
                </a:extLst>
              </a:tr>
              <a:tr h="19575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>
                          <a:effectLst/>
                        </a:rPr>
                        <a:t>7</a:t>
                      </a:r>
                      <a:endParaRPr lang="en-US" sz="16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 err="1">
                          <a:effectLst/>
                        </a:rPr>
                        <a:t>Jhang</a:t>
                      </a:r>
                      <a:endParaRPr lang="en-US" sz="16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2389305969"/>
                  </a:ext>
                </a:extLst>
              </a:tr>
              <a:tr h="19575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>
                          <a:effectLst/>
                        </a:rPr>
                        <a:t>8</a:t>
                      </a:r>
                      <a:endParaRPr lang="en-US" sz="16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Nankana Sahib</a:t>
                      </a:r>
                      <a:endParaRPr lang="en-US" sz="16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405855859"/>
                  </a:ext>
                </a:extLst>
              </a:tr>
              <a:tr h="19575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>
                          <a:effectLst/>
                        </a:rPr>
                        <a:t>9</a:t>
                      </a:r>
                      <a:endParaRPr lang="en-US" sz="16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Sheikhupura</a:t>
                      </a:r>
                      <a:endParaRPr lang="en-US" sz="16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1831577644"/>
                  </a:ext>
                </a:extLst>
              </a:tr>
              <a:tr h="19575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>
                          <a:effectLst/>
                        </a:rPr>
                        <a:t>10</a:t>
                      </a:r>
                      <a:endParaRPr lang="en-US" sz="16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Jhelum</a:t>
                      </a:r>
                      <a:endParaRPr lang="en-US" sz="16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2467220867"/>
                  </a:ext>
                </a:extLst>
              </a:tr>
              <a:tr h="19575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>
                          <a:effectLst/>
                        </a:rPr>
                        <a:t>11</a:t>
                      </a:r>
                      <a:endParaRPr lang="en-US" sz="16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Mandi </a:t>
                      </a:r>
                      <a:r>
                        <a:rPr lang="en-GB" sz="1600" kern="100" dirty="0" err="1">
                          <a:effectLst/>
                        </a:rPr>
                        <a:t>Bahuddin</a:t>
                      </a:r>
                      <a:endParaRPr lang="en-US" sz="16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3000454835"/>
                  </a:ext>
                </a:extLst>
              </a:tr>
              <a:tr h="19575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>
                          <a:effectLst/>
                        </a:rPr>
                        <a:t>12</a:t>
                      </a:r>
                      <a:endParaRPr lang="en-US" sz="16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Faisalabad</a:t>
                      </a:r>
                      <a:endParaRPr lang="en-US" sz="16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2639386069"/>
                  </a:ext>
                </a:extLst>
              </a:tr>
              <a:tr h="19575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>
                          <a:effectLst/>
                        </a:rPr>
                        <a:t>13</a:t>
                      </a:r>
                      <a:endParaRPr lang="en-US" sz="16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Multan</a:t>
                      </a:r>
                      <a:endParaRPr lang="en-US" sz="16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3547986133"/>
                  </a:ext>
                </a:extLst>
              </a:tr>
              <a:tr h="19575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>
                          <a:effectLst/>
                        </a:rPr>
                        <a:t>14</a:t>
                      </a:r>
                      <a:endParaRPr lang="en-US" sz="16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 err="1">
                          <a:effectLst/>
                        </a:rPr>
                        <a:t>Khushab</a:t>
                      </a:r>
                      <a:endParaRPr lang="en-US" sz="16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4183380889"/>
                  </a:ext>
                </a:extLst>
              </a:tr>
              <a:tr h="19575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>
                          <a:effectLst/>
                        </a:rPr>
                        <a:t>15</a:t>
                      </a:r>
                      <a:endParaRPr lang="en-US" sz="16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Bhakkar</a:t>
                      </a:r>
                      <a:endParaRPr lang="en-US" sz="16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4273077184"/>
                  </a:ext>
                </a:extLst>
              </a:tr>
              <a:tr h="19575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>
                          <a:effectLst/>
                        </a:rPr>
                        <a:t>16</a:t>
                      </a:r>
                      <a:endParaRPr lang="en-US" sz="16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T.T Singh</a:t>
                      </a:r>
                      <a:endParaRPr lang="en-US" sz="16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2391047937"/>
                  </a:ext>
                </a:extLst>
              </a:tr>
              <a:tr h="19575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>
                          <a:effectLst/>
                        </a:rPr>
                        <a:t>17</a:t>
                      </a:r>
                      <a:endParaRPr lang="en-US" sz="16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Sahiwal</a:t>
                      </a:r>
                      <a:endParaRPr lang="en-US" sz="16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2682308128"/>
                  </a:ext>
                </a:extLst>
              </a:tr>
              <a:tr h="19575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>
                          <a:effectLst/>
                        </a:rPr>
                        <a:t>18</a:t>
                      </a:r>
                      <a:endParaRPr lang="en-US" sz="16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Sialkot</a:t>
                      </a:r>
                      <a:endParaRPr lang="en-US" sz="16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2650972291"/>
                  </a:ext>
                </a:extLst>
              </a:tr>
              <a:tr h="19575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u="none" strike="noStrike" kern="100">
                          <a:effectLst/>
                        </a:rPr>
                        <a:t> </a:t>
                      </a:r>
                      <a:endParaRPr lang="en-US" sz="16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u="none" strike="noStrike" kern="100" dirty="0">
                          <a:effectLst/>
                        </a:rPr>
                        <a:t> </a:t>
                      </a:r>
                      <a:endParaRPr lang="en-US" sz="16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435229025"/>
                  </a:ext>
                </a:extLst>
              </a:tr>
            </a:tbl>
          </a:graphicData>
        </a:graphic>
      </p:graphicFrame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30189E1B-B2C8-53DA-1E67-BEB60191E342}"/>
              </a:ext>
            </a:extLst>
          </p:cNvPr>
          <p:cNvGraphicFramePr>
            <a:graphicFrameLocks noGrp="1"/>
          </p:cNvGraphicFramePr>
          <p:nvPr>
            <p:ph sz="half" idx="2"/>
          </p:nvPr>
        </p:nvGraphicFramePr>
        <p:xfrm>
          <a:off x="6172200" y="1418729"/>
          <a:ext cx="5181600" cy="572052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68569">
                  <a:extLst>
                    <a:ext uri="{9D8B030D-6E8A-4147-A177-3AD203B41FA5}">
                      <a16:colId xmlns:a16="http://schemas.microsoft.com/office/drawing/2014/main" val="1189477331"/>
                    </a:ext>
                  </a:extLst>
                </a:gridCol>
                <a:gridCol w="4613031">
                  <a:extLst>
                    <a:ext uri="{9D8B030D-6E8A-4147-A177-3AD203B41FA5}">
                      <a16:colId xmlns:a16="http://schemas.microsoft.com/office/drawing/2014/main" val="242373346"/>
                    </a:ext>
                  </a:extLst>
                </a:gridCol>
              </a:tblGrid>
              <a:tr h="26065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0">
                          <a:effectLst/>
                        </a:rPr>
                        <a:t>S.N.</a:t>
                      </a:r>
                      <a:endParaRPr lang="en-US" sz="18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kern="0" dirty="0">
                          <a:effectLst/>
                        </a:rPr>
                        <a:t>Name of the districts- Sindh (</a:t>
                      </a:r>
                      <a:r>
                        <a:rPr lang="en-US" sz="1800" kern="100" dirty="0">
                          <a:effectLst/>
                        </a:rPr>
                        <a:t>18,566,450)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284390913"/>
                  </a:ext>
                </a:extLst>
              </a:tr>
              <a:tr h="20279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0" dirty="0">
                          <a:effectLst/>
                        </a:rPr>
                        <a:t>1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0">
                          <a:effectLst/>
                        </a:rPr>
                        <a:t>Sanghar</a:t>
                      </a:r>
                      <a:endParaRPr lang="en-US" sz="18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3414123288"/>
                  </a:ext>
                </a:extLst>
              </a:tr>
              <a:tr h="20279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0" dirty="0">
                          <a:effectLst/>
                        </a:rPr>
                        <a:t>2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0" dirty="0">
                          <a:effectLst/>
                        </a:rPr>
                        <a:t>Ghotki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1766531953"/>
                  </a:ext>
                </a:extLst>
              </a:tr>
              <a:tr h="20279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0" dirty="0">
                          <a:effectLst/>
                        </a:rPr>
                        <a:t>3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0" dirty="0" err="1">
                          <a:effectLst/>
                        </a:rPr>
                        <a:t>Mirpurkhas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4291472157"/>
                  </a:ext>
                </a:extLst>
              </a:tr>
              <a:tr h="20279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0">
                          <a:effectLst/>
                        </a:rPr>
                        <a:t>4</a:t>
                      </a:r>
                      <a:endParaRPr lang="en-US" sz="18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0" dirty="0" err="1">
                          <a:effectLst/>
                        </a:rPr>
                        <a:t>Tando</a:t>
                      </a:r>
                      <a:r>
                        <a:rPr lang="en-US" sz="1800" kern="0" dirty="0">
                          <a:effectLst/>
                        </a:rPr>
                        <a:t> </a:t>
                      </a:r>
                      <a:r>
                        <a:rPr lang="en-US" sz="1800" kern="0" dirty="0" err="1">
                          <a:effectLst/>
                        </a:rPr>
                        <a:t>Allahyar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859628765"/>
                  </a:ext>
                </a:extLst>
              </a:tr>
              <a:tr h="20279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0">
                          <a:effectLst/>
                        </a:rPr>
                        <a:t>5</a:t>
                      </a:r>
                      <a:endParaRPr lang="en-US" sz="18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0" dirty="0">
                          <a:effectLst/>
                        </a:rPr>
                        <a:t>Shikarpur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1107354124"/>
                  </a:ext>
                </a:extLst>
              </a:tr>
              <a:tr h="20279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0">
                          <a:effectLst/>
                        </a:rPr>
                        <a:t>6</a:t>
                      </a:r>
                      <a:endParaRPr lang="en-US" sz="18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0" dirty="0">
                          <a:effectLst/>
                        </a:rPr>
                        <a:t>Jacobabad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3773300404"/>
                  </a:ext>
                </a:extLst>
              </a:tr>
              <a:tr h="20279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0">
                          <a:effectLst/>
                        </a:rPr>
                        <a:t>7</a:t>
                      </a:r>
                      <a:endParaRPr lang="en-US" sz="18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0" dirty="0">
                          <a:effectLst/>
                        </a:rPr>
                        <a:t>Khairpur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3147200018"/>
                  </a:ext>
                </a:extLst>
              </a:tr>
              <a:tr h="20279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0">
                          <a:effectLst/>
                        </a:rPr>
                        <a:t>8</a:t>
                      </a:r>
                      <a:endParaRPr lang="en-US" sz="18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0" dirty="0" err="1">
                          <a:effectLst/>
                        </a:rPr>
                        <a:t>Dadu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3213449643"/>
                  </a:ext>
                </a:extLst>
              </a:tr>
              <a:tr h="20279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0">
                          <a:effectLst/>
                        </a:rPr>
                        <a:t>9</a:t>
                      </a:r>
                      <a:endParaRPr lang="en-US" sz="18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0" dirty="0">
                          <a:effectLst/>
                        </a:rPr>
                        <a:t>Sukkur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3761894470"/>
                  </a:ext>
                </a:extLst>
              </a:tr>
              <a:tr h="20279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0">
                          <a:effectLst/>
                        </a:rPr>
                        <a:t>10</a:t>
                      </a:r>
                      <a:endParaRPr lang="en-US" sz="18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0" dirty="0">
                          <a:effectLst/>
                        </a:rPr>
                        <a:t>Thatta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3295430447"/>
                  </a:ext>
                </a:extLst>
              </a:tr>
              <a:tr h="20279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0">
                          <a:effectLst/>
                        </a:rPr>
                        <a:t>11</a:t>
                      </a:r>
                      <a:endParaRPr lang="en-US" sz="18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0" dirty="0">
                          <a:effectLst/>
                        </a:rPr>
                        <a:t>Karachi Malir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2290994853"/>
                  </a:ext>
                </a:extLst>
              </a:tr>
              <a:tr h="20279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0">
                          <a:effectLst/>
                        </a:rPr>
                        <a:t>12</a:t>
                      </a:r>
                      <a:endParaRPr lang="en-US" sz="18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0" dirty="0">
                          <a:effectLst/>
                        </a:rPr>
                        <a:t>Jamshoro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731629244"/>
                  </a:ext>
                </a:extLst>
              </a:tr>
              <a:tr h="20279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0">
                          <a:effectLst/>
                        </a:rPr>
                        <a:t>13</a:t>
                      </a:r>
                      <a:endParaRPr lang="en-US" sz="18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0" dirty="0">
                          <a:effectLst/>
                        </a:rPr>
                        <a:t>Hyderabad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3590225102"/>
                  </a:ext>
                </a:extLst>
              </a:tr>
              <a:tr h="20279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0">
                          <a:effectLst/>
                        </a:rPr>
                        <a:t>14</a:t>
                      </a:r>
                      <a:endParaRPr lang="en-US" sz="18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0" dirty="0">
                          <a:effectLst/>
                        </a:rPr>
                        <a:t>Karachi West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4216242652"/>
                  </a:ext>
                </a:extLst>
              </a:tr>
              <a:tr h="20279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0">
                          <a:effectLst/>
                        </a:rPr>
                        <a:t>15</a:t>
                      </a:r>
                      <a:endParaRPr lang="en-US" sz="18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0" dirty="0">
                          <a:effectLst/>
                        </a:rPr>
                        <a:t>Shaheed Benazirabad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2845570546"/>
                  </a:ext>
                </a:extLst>
              </a:tr>
              <a:tr h="827145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0">
                          <a:effectLst/>
                        </a:rPr>
                        <a:t>16</a:t>
                      </a:r>
                      <a:endParaRPr lang="en-US" sz="18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0" dirty="0">
                          <a:effectLst/>
                        </a:rPr>
                        <a:t>Larkana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1712018940"/>
                  </a:ext>
                </a:extLst>
              </a:tr>
            </a:tbl>
          </a:graphicData>
        </a:graphic>
      </p:graphicFrame>
      <p:pic>
        <p:nvPicPr>
          <p:cNvPr id="7" name="Picture 4" descr="Text&#10;&#10;Description automatically generated with low confidence">
            <a:extLst>
              <a:ext uri="{FF2B5EF4-FFF2-40B4-BE49-F238E27FC236}">
                <a16:creationId xmlns:a16="http://schemas.microsoft.com/office/drawing/2014/main" id="{EAB688D0-A0BF-A15E-7A4F-413484A391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352148" y="115481"/>
            <a:ext cx="1850904" cy="1642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273665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5529CC-2AF2-CD38-0391-49366E97B1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gh Prevalence HCV Districts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7A7AAC6D-249A-66BB-8B3C-0A9A45D4228F}"/>
              </a:ext>
            </a:extLst>
          </p:cNvPr>
          <p:cNvGraphicFramePr>
            <a:graphicFrameLocks noGrp="1"/>
          </p:cNvGraphicFramePr>
          <p:nvPr>
            <p:ph sz="half" idx="1"/>
          </p:nvPr>
        </p:nvGraphicFramePr>
        <p:xfrm>
          <a:off x="838200" y="1642677"/>
          <a:ext cx="5181600" cy="466728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638908">
                  <a:extLst>
                    <a:ext uri="{9D8B030D-6E8A-4147-A177-3AD203B41FA5}">
                      <a16:colId xmlns:a16="http://schemas.microsoft.com/office/drawing/2014/main" val="348693479"/>
                    </a:ext>
                  </a:extLst>
                </a:gridCol>
                <a:gridCol w="4542692">
                  <a:extLst>
                    <a:ext uri="{9D8B030D-6E8A-4147-A177-3AD203B41FA5}">
                      <a16:colId xmlns:a16="http://schemas.microsoft.com/office/drawing/2014/main" val="2762505566"/>
                    </a:ext>
                  </a:extLst>
                </a:gridCol>
              </a:tblGrid>
              <a:tr h="36261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kern="100" dirty="0">
                          <a:effectLst/>
                        </a:rPr>
                        <a:t>S.N.</a:t>
                      </a:r>
                      <a:endParaRPr lang="en-US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kern="100" dirty="0">
                          <a:effectLst/>
                        </a:rPr>
                        <a:t>Name of the districts- KP (</a:t>
                      </a:r>
                      <a:r>
                        <a:rPr lang="en-US" sz="1800" kern="100" dirty="0">
                          <a:effectLst/>
                        </a:rPr>
                        <a:t>13,594,254)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3054680815"/>
                  </a:ext>
                </a:extLst>
              </a:tr>
              <a:tr h="36261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 dirty="0">
                          <a:effectLst/>
                        </a:rPr>
                        <a:t>1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 dirty="0">
                          <a:effectLst/>
                        </a:rPr>
                        <a:t>Abbottabad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477296394"/>
                  </a:ext>
                </a:extLst>
              </a:tr>
              <a:tr h="36261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 dirty="0">
                          <a:effectLst/>
                        </a:rPr>
                        <a:t>2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 dirty="0" err="1">
                          <a:effectLst/>
                        </a:rPr>
                        <a:t>Bannu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1185961039"/>
                  </a:ext>
                </a:extLst>
              </a:tr>
              <a:tr h="36261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 dirty="0">
                          <a:effectLst/>
                        </a:rPr>
                        <a:t>3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 dirty="0">
                          <a:effectLst/>
                        </a:rPr>
                        <a:t>Dera Ismail Khan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2578781298"/>
                  </a:ext>
                </a:extLst>
              </a:tr>
              <a:tr h="36261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 dirty="0">
                          <a:effectLst/>
                        </a:rPr>
                        <a:t>4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 dirty="0" err="1">
                          <a:effectLst/>
                        </a:rPr>
                        <a:t>Hangu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3877162200"/>
                  </a:ext>
                </a:extLst>
              </a:tr>
              <a:tr h="36261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 dirty="0">
                          <a:effectLst/>
                        </a:rPr>
                        <a:t>5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 dirty="0">
                          <a:effectLst/>
                        </a:rPr>
                        <a:t>Khyber 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4143406620"/>
                  </a:ext>
                </a:extLst>
              </a:tr>
              <a:tr h="36261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 dirty="0">
                          <a:effectLst/>
                        </a:rPr>
                        <a:t>6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 dirty="0">
                          <a:effectLst/>
                        </a:rPr>
                        <a:t>Kurram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643060979"/>
                  </a:ext>
                </a:extLst>
              </a:tr>
              <a:tr h="36261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 dirty="0">
                          <a:effectLst/>
                        </a:rPr>
                        <a:t>7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 dirty="0">
                          <a:effectLst/>
                        </a:rPr>
                        <a:t>Lower Dir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2145417044"/>
                  </a:ext>
                </a:extLst>
              </a:tr>
              <a:tr h="36261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 dirty="0">
                          <a:effectLst/>
                        </a:rPr>
                        <a:t>8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 dirty="0" err="1">
                          <a:effectLst/>
                        </a:rPr>
                        <a:t>Mardan</a:t>
                      </a:r>
                      <a:r>
                        <a:rPr lang="en-GB" sz="1800" kern="100" dirty="0">
                          <a:effectLst/>
                        </a:rPr>
                        <a:t> 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3618219548"/>
                  </a:ext>
                </a:extLst>
              </a:tr>
              <a:tr h="36261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 dirty="0">
                          <a:effectLst/>
                        </a:rPr>
                        <a:t>9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 dirty="0" err="1">
                          <a:effectLst/>
                        </a:rPr>
                        <a:t>Mansehra</a:t>
                      </a:r>
                      <a:r>
                        <a:rPr lang="en-GB" sz="1800" kern="100" dirty="0">
                          <a:effectLst/>
                        </a:rPr>
                        <a:t> 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78024635"/>
                  </a:ext>
                </a:extLst>
              </a:tr>
              <a:tr h="36261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 dirty="0">
                          <a:effectLst/>
                        </a:rPr>
                        <a:t>10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 dirty="0">
                          <a:effectLst/>
                        </a:rPr>
                        <a:t>Peshawar 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3348758600"/>
                  </a:ext>
                </a:extLst>
              </a:tr>
              <a:tr h="36261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 dirty="0">
                          <a:effectLst/>
                        </a:rPr>
                        <a:t>11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 dirty="0">
                          <a:effectLst/>
                        </a:rPr>
                        <a:t>Swat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2103476150"/>
                  </a:ext>
                </a:extLst>
              </a:tr>
            </a:tbl>
          </a:graphicData>
        </a:graphic>
      </p:graphicFrame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55E1C60D-E16B-8F20-A372-3D85B9AFE165}"/>
              </a:ext>
            </a:extLst>
          </p:cNvPr>
          <p:cNvGraphicFramePr>
            <a:graphicFrameLocks noGrp="1"/>
          </p:cNvGraphicFramePr>
          <p:nvPr>
            <p:ph sz="half" idx="2"/>
          </p:nvPr>
        </p:nvGraphicFramePr>
        <p:xfrm>
          <a:off x="6172202" y="1639501"/>
          <a:ext cx="5181600" cy="560109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627185">
                  <a:extLst>
                    <a:ext uri="{9D8B030D-6E8A-4147-A177-3AD203B41FA5}">
                      <a16:colId xmlns:a16="http://schemas.microsoft.com/office/drawing/2014/main" val="1665046140"/>
                    </a:ext>
                  </a:extLst>
                </a:gridCol>
                <a:gridCol w="4554415">
                  <a:extLst>
                    <a:ext uri="{9D8B030D-6E8A-4147-A177-3AD203B41FA5}">
                      <a16:colId xmlns:a16="http://schemas.microsoft.com/office/drawing/2014/main" val="1156143072"/>
                    </a:ext>
                  </a:extLst>
                </a:gridCol>
              </a:tblGrid>
              <a:tr h="202315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 dirty="0">
                          <a:effectLst/>
                        </a:rPr>
                        <a:t>S# 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kern="100" dirty="0">
                          <a:effectLst/>
                        </a:rPr>
                        <a:t>Name of the District- Balochistan  (</a:t>
                      </a:r>
                      <a:r>
                        <a:rPr lang="en-US" sz="1800" kern="100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4,995,583</a:t>
                      </a:r>
                      <a:r>
                        <a:rPr lang="en-US" sz="1800" kern="1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4100339389"/>
                  </a:ext>
                </a:extLst>
              </a:tr>
              <a:tr h="22568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 dirty="0">
                          <a:effectLst/>
                        </a:rPr>
                        <a:t>1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 err="1">
                          <a:effectLst/>
                        </a:rPr>
                        <a:t>Sohbatpur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2508319412"/>
                  </a:ext>
                </a:extLst>
              </a:tr>
              <a:tr h="22568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 dirty="0">
                          <a:effectLst/>
                        </a:rPr>
                        <a:t>2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 err="1">
                          <a:effectLst/>
                        </a:rPr>
                        <a:t>Nasirabad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2088940143"/>
                  </a:ext>
                </a:extLst>
              </a:tr>
              <a:tr h="22568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>
                          <a:effectLst/>
                        </a:rPr>
                        <a:t>3</a:t>
                      </a:r>
                      <a:endParaRPr lang="en-US" sz="18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effectLst/>
                        </a:rPr>
                        <a:t>Kachi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1150852496"/>
                  </a:ext>
                </a:extLst>
              </a:tr>
              <a:tr h="22568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>
                          <a:effectLst/>
                        </a:rPr>
                        <a:t>4</a:t>
                      </a:r>
                      <a:endParaRPr lang="en-US" sz="18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 err="1">
                          <a:effectLst/>
                        </a:rPr>
                        <a:t>Jhal</a:t>
                      </a:r>
                      <a:r>
                        <a:rPr lang="en-US" sz="1800" kern="100" dirty="0">
                          <a:effectLst/>
                        </a:rPr>
                        <a:t> </a:t>
                      </a:r>
                      <a:r>
                        <a:rPr lang="en-US" sz="1800" kern="100" dirty="0" err="1">
                          <a:effectLst/>
                        </a:rPr>
                        <a:t>magsi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156889766"/>
                  </a:ext>
                </a:extLst>
              </a:tr>
              <a:tr h="22568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>
                          <a:effectLst/>
                        </a:rPr>
                        <a:t>5</a:t>
                      </a:r>
                      <a:endParaRPr lang="en-US" sz="18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 err="1">
                          <a:effectLst/>
                        </a:rPr>
                        <a:t>Jafferabad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418119995"/>
                  </a:ext>
                </a:extLst>
              </a:tr>
              <a:tr h="22568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>
                          <a:effectLst/>
                        </a:rPr>
                        <a:t>6</a:t>
                      </a:r>
                      <a:endParaRPr lang="en-US" sz="18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 err="1">
                          <a:effectLst/>
                        </a:rPr>
                        <a:t>Sibbi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36353272"/>
                  </a:ext>
                </a:extLst>
              </a:tr>
              <a:tr h="22568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>
                          <a:effectLst/>
                        </a:rPr>
                        <a:t>7</a:t>
                      </a:r>
                      <a:endParaRPr lang="en-US" sz="18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effectLst/>
                        </a:rPr>
                        <a:t>Zhob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903163105"/>
                  </a:ext>
                </a:extLst>
              </a:tr>
              <a:tr h="22568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>
                          <a:effectLst/>
                        </a:rPr>
                        <a:t>8</a:t>
                      </a:r>
                      <a:endParaRPr lang="en-US" sz="18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 err="1">
                          <a:effectLst/>
                        </a:rPr>
                        <a:t>Kohlu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1829366596"/>
                  </a:ext>
                </a:extLst>
              </a:tr>
              <a:tr h="22568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>
                          <a:effectLst/>
                        </a:rPr>
                        <a:t>9</a:t>
                      </a:r>
                      <a:endParaRPr lang="en-US" sz="18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 err="1">
                          <a:effectLst/>
                        </a:rPr>
                        <a:t>Harnai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217468134"/>
                  </a:ext>
                </a:extLst>
              </a:tr>
              <a:tr h="22568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>
                          <a:effectLst/>
                        </a:rPr>
                        <a:t>10</a:t>
                      </a:r>
                      <a:endParaRPr lang="en-US" sz="18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 err="1">
                          <a:effectLst/>
                        </a:rPr>
                        <a:t>Derabugti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211555234"/>
                  </a:ext>
                </a:extLst>
              </a:tr>
              <a:tr h="22568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>
                          <a:effectLst/>
                        </a:rPr>
                        <a:t>11</a:t>
                      </a:r>
                      <a:endParaRPr lang="en-US" sz="18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 err="1">
                          <a:effectLst/>
                        </a:rPr>
                        <a:t>Loarlai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3660264893"/>
                  </a:ext>
                </a:extLst>
              </a:tr>
              <a:tr h="22568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>
                          <a:effectLst/>
                        </a:rPr>
                        <a:t>12</a:t>
                      </a:r>
                      <a:endParaRPr lang="en-US" sz="18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 err="1">
                          <a:effectLst/>
                        </a:rPr>
                        <a:t>MusaKhel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3839832173"/>
                  </a:ext>
                </a:extLst>
              </a:tr>
              <a:tr h="22568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>
                          <a:effectLst/>
                        </a:rPr>
                        <a:t>13</a:t>
                      </a:r>
                      <a:endParaRPr lang="en-US" sz="18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 err="1">
                          <a:effectLst/>
                        </a:rPr>
                        <a:t>Duki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4058499112"/>
                  </a:ext>
                </a:extLst>
              </a:tr>
              <a:tr h="22568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>
                          <a:effectLst/>
                        </a:rPr>
                        <a:t>14</a:t>
                      </a:r>
                      <a:endParaRPr lang="en-US" sz="18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effectLst/>
                        </a:rPr>
                        <a:t>Kalat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1060402994"/>
                  </a:ext>
                </a:extLst>
              </a:tr>
              <a:tr h="22568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>
                          <a:effectLst/>
                        </a:rPr>
                        <a:t>15</a:t>
                      </a:r>
                      <a:endParaRPr lang="en-US" sz="18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 err="1">
                          <a:effectLst/>
                        </a:rPr>
                        <a:t>Kuzdar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457374963"/>
                  </a:ext>
                </a:extLst>
              </a:tr>
              <a:tr h="22568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>
                          <a:effectLst/>
                        </a:rPr>
                        <a:t>16</a:t>
                      </a:r>
                      <a:endParaRPr lang="en-US" sz="18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 err="1">
                          <a:effectLst/>
                        </a:rPr>
                        <a:t>Surab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3657758552"/>
                  </a:ext>
                </a:extLst>
              </a:tr>
              <a:tr h="22568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>
                          <a:effectLst/>
                        </a:rPr>
                        <a:t>17</a:t>
                      </a:r>
                      <a:endParaRPr lang="en-US" sz="18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 err="1">
                          <a:effectLst/>
                        </a:rPr>
                        <a:t>Mastung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2148050725"/>
                  </a:ext>
                </a:extLst>
              </a:tr>
              <a:tr h="22568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kern="100">
                          <a:effectLst/>
                        </a:rPr>
                        <a:t>18</a:t>
                      </a:r>
                      <a:endParaRPr lang="en-US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600" kern="100" dirty="0" err="1">
                          <a:effectLst/>
                        </a:rPr>
                        <a:t>Lasbella</a:t>
                      </a:r>
                      <a:r>
                        <a:rPr lang="en-US" sz="1600" kern="100" dirty="0">
                          <a:effectLst/>
                        </a:rPr>
                        <a:t>/hub</a:t>
                      </a:r>
                      <a:endParaRPr lang="en-US" sz="16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464956157"/>
                  </a:ext>
                </a:extLst>
              </a:tr>
            </a:tbl>
          </a:graphicData>
        </a:graphic>
      </p:graphicFrame>
      <p:pic>
        <p:nvPicPr>
          <p:cNvPr id="7" name="Picture 4" descr="Text&#10;&#10;Description automatically generated with low confidence">
            <a:extLst>
              <a:ext uri="{FF2B5EF4-FFF2-40B4-BE49-F238E27FC236}">
                <a16:creationId xmlns:a16="http://schemas.microsoft.com/office/drawing/2014/main" id="{FD9EF075-56BC-8E26-5443-85D3AF5F21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102850" y="0"/>
            <a:ext cx="1850904" cy="1642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1753947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8D7245-9309-C9E8-A37A-66A2E79DE3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tricts with high HCV Prevalence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24589BA2-53A3-FB4C-0E31-48302F717305}"/>
              </a:ext>
            </a:extLst>
          </p:cNvPr>
          <p:cNvGraphicFramePr>
            <a:graphicFrameLocks noGrp="1"/>
          </p:cNvGraphicFramePr>
          <p:nvPr>
            <p:ph sz="half" idx="1"/>
          </p:nvPr>
        </p:nvGraphicFramePr>
        <p:xfrm>
          <a:off x="838201" y="1556610"/>
          <a:ext cx="5181600" cy="348844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27892">
                  <a:extLst>
                    <a:ext uri="{9D8B030D-6E8A-4147-A177-3AD203B41FA5}">
                      <a16:colId xmlns:a16="http://schemas.microsoft.com/office/drawing/2014/main" val="1419204418"/>
                    </a:ext>
                  </a:extLst>
                </a:gridCol>
                <a:gridCol w="4753708">
                  <a:extLst>
                    <a:ext uri="{9D8B030D-6E8A-4147-A177-3AD203B41FA5}">
                      <a16:colId xmlns:a16="http://schemas.microsoft.com/office/drawing/2014/main" val="1620573226"/>
                    </a:ext>
                  </a:extLst>
                </a:gridCol>
              </a:tblGrid>
              <a:tr h="212686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kern="100">
                          <a:effectLst/>
                        </a:rPr>
                        <a:t>S#</a:t>
                      </a:r>
                      <a:endParaRPr lang="en-US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kern="100" dirty="0">
                          <a:effectLst/>
                        </a:rPr>
                        <a:t>Name of the Districts AJK  (</a:t>
                      </a:r>
                      <a:r>
                        <a:rPr lang="en-US" sz="1800" kern="100" dirty="0">
                          <a:effectLst/>
                        </a:rPr>
                        <a:t>1,473,309) 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358683882"/>
                  </a:ext>
                </a:extLst>
              </a:tr>
              <a:tr h="23725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kern="100">
                          <a:effectLst/>
                        </a:rPr>
                        <a:t>1</a:t>
                      </a:r>
                      <a:endParaRPr lang="en-US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 dirty="0">
                          <a:effectLst/>
                        </a:rPr>
                        <a:t>Muzaffarabad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4153590834"/>
                  </a:ext>
                </a:extLst>
              </a:tr>
              <a:tr h="23725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kern="100">
                          <a:effectLst/>
                        </a:rPr>
                        <a:t>2</a:t>
                      </a:r>
                      <a:endParaRPr lang="en-US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 dirty="0">
                          <a:effectLst/>
                        </a:rPr>
                        <a:t>Neelum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1246409576"/>
                  </a:ext>
                </a:extLst>
              </a:tr>
              <a:tr h="23725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kern="100">
                          <a:effectLst/>
                        </a:rPr>
                        <a:t>3</a:t>
                      </a:r>
                      <a:endParaRPr lang="en-US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 dirty="0" err="1">
                          <a:effectLst/>
                        </a:rPr>
                        <a:t>Jahlum</a:t>
                      </a:r>
                      <a:r>
                        <a:rPr lang="en-GB" sz="1800" kern="100" dirty="0">
                          <a:effectLst/>
                        </a:rPr>
                        <a:t> valley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4014840513"/>
                  </a:ext>
                </a:extLst>
              </a:tr>
              <a:tr h="23725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kern="100">
                          <a:effectLst/>
                        </a:rPr>
                        <a:t>4</a:t>
                      </a:r>
                      <a:endParaRPr lang="en-US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 dirty="0">
                          <a:effectLst/>
                        </a:rPr>
                        <a:t>Bagh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3773290140"/>
                  </a:ext>
                </a:extLst>
              </a:tr>
              <a:tr h="23725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kern="100">
                          <a:effectLst/>
                        </a:rPr>
                        <a:t>5</a:t>
                      </a:r>
                      <a:endParaRPr lang="en-US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 dirty="0">
                          <a:effectLst/>
                        </a:rPr>
                        <a:t>Haveli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2911247125"/>
                  </a:ext>
                </a:extLst>
              </a:tr>
              <a:tr h="23725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kern="100">
                          <a:effectLst/>
                        </a:rPr>
                        <a:t>6</a:t>
                      </a:r>
                      <a:endParaRPr lang="en-US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 dirty="0">
                          <a:effectLst/>
                        </a:rPr>
                        <a:t>Poonch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1865449310"/>
                  </a:ext>
                </a:extLst>
              </a:tr>
              <a:tr h="23725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kern="100">
                          <a:effectLst/>
                        </a:rPr>
                        <a:t>7</a:t>
                      </a:r>
                      <a:endParaRPr lang="en-US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 dirty="0" err="1">
                          <a:effectLst/>
                        </a:rPr>
                        <a:t>Sudhnuti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1104744327"/>
                  </a:ext>
                </a:extLst>
              </a:tr>
              <a:tr h="23725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kern="100">
                          <a:effectLst/>
                        </a:rPr>
                        <a:t>8</a:t>
                      </a:r>
                      <a:endParaRPr lang="en-US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 dirty="0" err="1">
                          <a:effectLst/>
                        </a:rPr>
                        <a:t>Kotli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84543606"/>
                  </a:ext>
                </a:extLst>
              </a:tr>
              <a:tr h="23725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kern="100">
                          <a:effectLst/>
                        </a:rPr>
                        <a:t>9</a:t>
                      </a:r>
                      <a:endParaRPr lang="en-US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 dirty="0">
                          <a:effectLst/>
                        </a:rPr>
                        <a:t>Mirpur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3119810700"/>
                  </a:ext>
                </a:extLst>
              </a:tr>
              <a:tr h="23725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kern="100" dirty="0">
                          <a:effectLst/>
                        </a:rPr>
                        <a:t>10</a:t>
                      </a:r>
                      <a:endParaRPr lang="en-US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 dirty="0">
                          <a:effectLst/>
                        </a:rPr>
                        <a:t>Bhimber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1065697092"/>
                  </a:ext>
                </a:extLst>
              </a:tr>
            </a:tbl>
          </a:graphicData>
        </a:graphic>
      </p:graphicFrame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1104ED51-6AA4-AE66-C867-71D4F9F2B972}"/>
              </a:ext>
            </a:extLst>
          </p:cNvPr>
          <p:cNvGraphicFramePr>
            <a:graphicFrameLocks noGrp="1"/>
          </p:cNvGraphicFramePr>
          <p:nvPr>
            <p:ph sz="half" idx="2"/>
          </p:nvPr>
        </p:nvGraphicFramePr>
        <p:xfrm>
          <a:off x="6172201" y="1556610"/>
          <a:ext cx="5181600" cy="348844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909917">
                  <a:extLst>
                    <a:ext uri="{9D8B030D-6E8A-4147-A177-3AD203B41FA5}">
                      <a16:colId xmlns:a16="http://schemas.microsoft.com/office/drawing/2014/main" val="3990295176"/>
                    </a:ext>
                  </a:extLst>
                </a:gridCol>
                <a:gridCol w="4271683">
                  <a:extLst>
                    <a:ext uri="{9D8B030D-6E8A-4147-A177-3AD203B41FA5}">
                      <a16:colId xmlns:a16="http://schemas.microsoft.com/office/drawing/2014/main" val="2138487991"/>
                    </a:ext>
                  </a:extLst>
                </a:gridCol>
              </a:tblGrid>
              <a:tr h="23025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 dirty="0">
                          <a:effectLst/>
                        </a:rPr>
                        <a:t>S.N.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kern="100" dirty="0">
                          <a:effectLst/>
                        </a:rPr>
                        <a:t>Name of the districts GB  (</a:t>
                      </a:r>
                      <a:r>
                        <a:rPr lang="en-US" sz="1800" kern="100" dirty="0">
                          <a:effectLst/>
                        </a:rPr>
                        <a:t>579,118)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1309856209"/>
                  </a:ext>
                </a:extLst>
              </a:tr>
              <a:tr h="23025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 dirty="0">
                          <a:effectLst/>
                        </a:rPr>
                        <a:t>1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 dirty="0">
                          <a:effectLst/>
                        </a:rPr>
                        <a:t>Gilgit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2945486788"/>
                  </a:ext>
                </a:extLst>
              </a:tr>
              <a:tr h="23025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>
                          <a:effectLst/>
                        </a:rPr>
                        <a:t>2</a:t>
                      </a:r>
                      <a:endParaRPr lang="en-US" sz="18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 dirty="0">
                          <a:effectLst/>
                        </a:rPr>
                        <a:t>Skardu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1565921969"/>
                  </a:ext>
                </a:extLst>
              </a:tr>
              <a:tr h="23025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>
                          <a:effectLst/>
                        </a:rPr>
                        <a:t>3</a:t>
                      </a:r>
                      <a:endParaRPr lang="en-US" sz="18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 dirty="0" err="1">
                          <a:effectLst/>
                        </a:rPr>
                        <a:t>Diamer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2149867779"/>
                  </a:ext>
                </a:extLst>
              </a:tr>
              <a:tr h="23025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>
                          <a:effectLst/>
                        </a:rPr>
                        <a:t>4</a:t>
                      </a:r>
                      <a:endParaRPr lang="en-US" sz="18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 dirty="0" err="1">
                          <a:effectLst/>
                        </a:rPr>
                        <a:t>Ghizar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1260042253"/>
                  </a:ext>
                </a:extLst>
              </a:tr>
              <a:tr h="23025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>
                          <a:effectLst/>
                        </a:rPr>
                        <a:t>5</a:t>
                      </a:r>
                      <a:endParaRPr lang="en-US" sz="18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 dirty="0" err="1">
                          <a:effectLst/>
                        </a:rPr>
                        <a:t>Ghanche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1374486656"/>
                  </a:ext>
                </a:extLst>
              </a:tr>
              <a:tr h="23025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>
                          <a:effectLst/>
                        </a:rPr>
                        <a:t>6</a:t>
                      </a:r>
                      <a:endParaRPr lang="en-US" sz="18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 dirty="0">
                          <a:effectLst/>
                        </a:rPr>
                        <a:t>Astore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1173092275"/>
                  </a:ext>
                </a:extLst>
              </a:tr>
              <a:tr h="23025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>
                          <a:effectLst/>
                        </a:rPr>
                        <a:t>7</a:t>
                      </a:r>
                      <a:endParaRPr lang="en-US" sz="18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 dirty="0" err="1">
                          <a:effectLst/>
                        </a:rPr>
                        <a:t>Shigar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4276086600"/>
                  </a:ext>
                </a:extLst>
              </a:tr>
              <a:tr h="23025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>
                          <a:effectLst/>
                        </a:rPr>
                        <a:t>8</a:t>
                      </a:r>
                      <a:endParaRPr lang="en-US" sz="18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 dirty="0">
                          <a:effectLst/>
                        </a:rPr>
                        <a:t>Nagar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3680459946"/>
                  </a:ext>
                </a:extLst>
              </a:tr>
              <a:tr h="23025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>
                          <a:effectLst/>
                        </a:rPr>
                        <a:t>9</a:t>
                      </a:r>
                      <a:endParaRPr lang="en-US" sz="18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 dirty="0">
                          <a:effectLst/>
                        </a:rPr>
                        <a:t>Hunza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1399197410"/>
                  </a:ext>
                </a:extLst>
              </a:tr>
              <a:tr h="23025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>
                          <a:effectLst/>
                        </a:rPr>
                        <a:t>10</a:t>
                      </a:r>
                      <a:endParaRPr lang="en-US" sz="18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 dirty="0" err="1">
                          <a:effectLst/>
                        </a:rPr>
                        <a:t>Kharmang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793" marR="33793" marT="0" marB="0"/>
                </a:tc>
                <a:extLst>
                  <a:ext uri="{0D108BD9-81ED-4DB2-BD59-A6C34878D82A}">
                    <a16:rowId xmlns:a16="http://schemas.microsoft.com/office/drawing/2014/main" val="1885382457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04EFACD4-E12B-EDB7-FBBE-7F07E06D7F5E}"/>
              </a:ext>
            </a:extLst>
          </p:cNvPr>
          <p:cNvGraphicFramePr>
            <a:graphicFrameLocks noGrp="1"/>
          </p:cNvGraphicFramePr>
          <p:nvPr/>
        </p:nvGraphicFramePr>
        <p:xfrm>
          <a:off x="838200" y="5312801"/>
          <a:ext cx="10515600" cy="95954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21574">
                  <a:extLst>
                    <a:ext uri="{9D8B030D-6E8A-4147-A177-3AD203B41FA5}">
                      <a16:colId xmlns:a16="http://schemas.microsoft.com/office/drawing/2014/main" val="3926511553"/>
                    </a:ext>
                  </a:extLst>
                </a:gridCol>
                <a:gridCol w="9994026">
                  <a:extLst>
                    <a:ext uri="{9D8B030D-6E8A-4147-A177-3AD203B41FA5}">
                      <a16:colId xmlns:a16="http://schemas.microsoft.com/office/drawing/2014/main" val="419367946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>
                          <a:effectLst/>
                        </a:rPr>
                        <a:t>S#</a:t>
                      </a:r>
                      <a:endParaRPr lang="en-US" sz="18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 dirty="0">
                          <a:effectLst/>
                        </a:rPr>
                        <a:t>Name of the District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0240761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kern="100">
                          <a:effectLst/>
                        </a:rPr>
                        <a:t>1</a:t>
                      </a:r>
                      <a:endParaRPr lang="en-US" sz="18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kern="100" dirty="0">
                          <a:effectLst/>
                        </a:rPr>
                        <a:t>ICT (</a:t>
                      </a:r>
                      <a:r>
                        <a:rPr lang="en-US" sz="1800" kern="100" dirty="0">
                          <a:effectLst/>
                        </a:rPr>
                        <a:t>789,767)</a:t>
                      </a: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US" sz="18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178750242"/>
                  </a:ext>
                </a:extLst>
              </a:tr>
            </a:tbl>
          </a:graphicData>
        </a:graphic>
      </p:graphicFrame>
      <p:pic>
        <p:nvPicPr>
          <p:cNvPr id="10" name="Picture 4" descr="Text&#10;&#10;Description automatically generated with low confidence">
            <a:extLst>
              <a:ext uri="{FF2B5EF4-FFF2-40B4-BE49-F238E27FC236}">
                <a16:creationId xmlns:a16="http://schemas.microsoft.com/office/drawing/2014/main" id="{1A5EDE64-5144-0DF2-05AA-707D2EB46C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41115" y="215735"/>
            <a:ext cx="1850904" cy="1642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19850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6747304" y="1801944"/>
            <a:ext cx="5199617" cy="35476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Google Shape;6;p23">
            <a:extLst>
              <a:ext uri="{FF2B5EF4-FFF2-40B4-BE49-F238E27FC236}">
                <a16:creationId xmlns:a16="http://schemas.microsoft.com/office/drawing/2014/main" id="{721600FE-CA9B-7744-A9B0-983D1190648A}"/>
              </a:ext>
            </a:extLst>
          </p:cNvPr>
          <p:cNvSpPr txBox="1"/>
          <p:nvPr/>
        </p:nvSpPr>
        <p:spPr>
          <a:xfrm>
            <a:off x="5380474" y="6571175"/>
            <a:ext cx="1859068" cy="189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675" tIns="45675" rIns="45675" bIns="45675" anchor="t" anchorCtr="0">
            <a:noAutofit/>
          </a:bodyPr>
          <a:lstStyle/>
          <a:p>
            <a:pPr marL="50800" marR="0" lvl="0" indent="-50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8080"/>
              </a:buClr>
              <a:buSzPts val="800"/>
              <a:buFont typeface="Arial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© 2022. Confidential and Proprietary</a:t>
            </a:r>
            <a:endParaRPr kumimoji="0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" name="Google Shape;579;p3">
            <a:extLst>
              <a:ext uri="{FF2B5EF4-FFF2-40B4-BE49-F238E27FC236}">
                <a16:creationId xmlns:a16="http://schemas.microsoft.com/office/drawing/2014/main" id="{13FCCC93-60FC-1548-B461-319178EC5F4D}"/>
              </a:ext>
            </a:extLst>
          </p:cNvPr>
          <p:cNvSpPr txBox="1"/>
          <p:nvPr/>
        </p:nvSpPr>
        <p:spPr>
          <a:xfrm>
            <a:off x="495299" y="132145"/>
            <a:ext cx="10924973" cy="7676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 a result of high prevalence of Hepatitis C, Pakistan now also faces a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ver cancer epidemic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9A94101C-A200-C3B0-3D76-9C0F61057D0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 l="1127" t="8368" r="32126" b="15838"/>
          <a:stretch/>
        </p:blipFill>
        <p:spPr>
          <a:xfrm>
            <a:off x="576902" y="1957750"/>
            <a:ext cx="5473700" cy="2733472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9A94101C-A200-C3B0-3D76-9C0F61057D0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 l="1125" t="86293" r="47036" b="1164"/>
          <a:stretch/>
        </p:blipFill>
        <p:spPr>
          <a:xfrm>
            <a:off x="576903" y="4132617"/>
            <a:ext cx="5473699" cy="651753"/>
          </a:xfrm>
          <a:prstGeom prst="rect">
            <a:avLst/>
          </a:prstGeom>
        </p:spPr>
      </p:pic>
      <p:sp>
        <p:nvSpPr>
          <p:cNvPr id="28" name="Title 1">
            <a:extLst>
              <a:ext uri="{FF2B5EF4-FFF2-40B4-BE49-F238E27FC236}">
                <a16:creationId xmlns:a16="http://schemas.microsoft.com/office/drawing/2014/main" id="{66126C87-4932-D241-9D9C-7BB6383D635B}"/>
              </a:ext>
            </a:extLst>
          </p:cNvPr>
          <p:cNvSpPr txBox="1">
            <a:spLocks/>
          </p:cNvSpPr>
          <p:nvPr/>
        </p:nvSpPr>
        <p:spPr>
          <a:xfrm>
            <a:off x="475844" y="1200785"/>
            <a:ext cx="5574758" cy="32424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j-ea"/>
                <a:cs typeface="Arial" panose="020B0604020202020204" pitchFamily="34" charset="0"/>
              </a:rPr>
              <a:t>Prevalenc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j-ea"/>
                <a:cs typeface="Arial" panose="020B0604020202020204" pitchFamily="34" charset="0"/>
              </a:rPr>
              <a:t> was around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j-ea"/>
                <a:cs typeface="Arial" panose="020B0604020202020204" pitchFamily="34" charset="0"/>
              </a:rPr>
              <a:t>5% as per 2008 survey*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j-ea"/>
                <a:cs typeface="Arial" panose="020B0604020202020204" pitchFamily="34" charset="0"/>
              </a:rPr>
              <a:t>; medical experts estimate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rPr>
              <a:t>current prevalence to be </a:t>
            </a:r>
            <a:r>
              <a:rPr lang="en-US" sz="1600" b="1" dirty="0">
                <a:solidFill>
                  <a:srgbClr val="051C2C"/>
                </a:solidFill>
                <a:latin typeface="Arial"/>
                <a:cs typeface="Arial" panose="020B0604020202020204" pitchFamily="34" charset="0"/>
              </a:rPr>
              <a:t>near 7.5%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Arial"/>
              <a:cs typeface="Arial" panose="020B0604020202020204" pitchFamily="34" charset="0"/>
            </a:endParaRP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66126C87-4932-D241-9D9C-7BB6383D635B}"/>
              </a:ext>
            </a:extLst>
          </p:cNvPr>
          <p:cNvSpPr txBox="1">
            <a:spLocks/>
          </p:cNvSpPr>
          <p:nvPr/>
        </p:nvSpPr>
        <p:spPr>
          <a:xfrm>
            <a:off x="488347" y="1555626"/>
            <a:ext cx="3713539" cy="40157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j-ea"/>
                <a:cs typeface="Arial" panose="020B0604020202020204" pitchFamily="34" charset="0"/>
              </a:rPr>
              <a:t>Global Hepatitis C Prevalence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j-ea"/>
                <a:cs typeface="Arial" panose="020B0604020202020204" pitchFamily="34" charset="0"/>
              </a:rPr>
              <a:t>%**</a:t>
            </a:r>
          </a:p>
        </p:txBody>
      </p:sp>
      <p:graphicFrame>
        <p:nvGraphicFramePr>
          <p:cNvPr id="39" name="Group 4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94434537"/>
              </p:ext>
            </p:extLst>
          </p:nvPr>
        </p:nvGraphicFramePr>
        <p:xfrm>
          <a:off x="575291" y="5414425"/>
          <a:ext cx="5555306" cy="766647"/>
        </p:xfrm>
        <a:graphic>
          <a:graphicData uri="http://schemas.openxmlformats.org/drawingml/2006/table">
            <a:tbl>
              <a:tblPr>
                <a:tableStyleId>{8EC20E35-A176-4012-BC5E-935CFFF8708E}</a:tableStyleId>
              </a:tblPr>
              <a:tblGrid>
                <a:gridCol w="98113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46306">
                  <a:extLst>
                    <a:ext uri="{9D8B030D-6E8A-4147-A177-3AD203B41FA5}">
                      <a16:colId xmlns:a16="http://schemas.microsoft.com/office/drawing/2014/main" val="3175153650"/>
                    </a:ext>
                  </a:extLst>
                </a:gridCol>
                <a:gridCol w="769920">
                  <a:extLst>
                    <a:ext uri="{9D8B030D-6E8A-4147-A177-3AD203B41FA5}">
                      <a16:colId xmlns:a16="http://schemas.microsoft.com/office/drawing/2014/main" val="1055224686"/>
                    </a:ext>
                  </a:extLst>
                </a:gridCol>
                <a:gridCol w="769920">
                  <a:extLst>
                    <a:ext uri="{9D8B030D-6E8A-4147-A177-3AD203B41FA5}">
                      <a16:colId xmlns:a16="http://schemas.microsoft.com/office/drawing/2014/main" val="1845361096"/>
                    </a:ext>
                  </a:extLst>
                </a:gridCol>
                <a:gridCol w="11141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7385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24687">
                <a:tc gridSpan="2">
                  <a:txBody>
                    <a:bodyPr/>
                    <a:lstStyle>
                      <a:lvl1pPr marL="0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57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514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772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9029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286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543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800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8058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solidFill>
                            <a:srgbClr val="051C2C"/>
                          </a:solidFill>
                          <a:effectLst/>
                          <a:latin typeface="+mj-lt"/>
                        </a:rPr>
                        <a:t>Punjab</a:t>
                      </a: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rgbClr val="051C2C"/>
                        </a:solidFill>
                        <a:effectLst/>
                        <a:latin typeface="+mj-lt"/>
                        <a:cs typeface="Times New Roman" panose="02020603050405020304" pitchFamily="18" charset="0"/>
                      </a:endParaRPr>
                    </a:p>
                  </a:txBody>
                  <a:tcPr marL="76200" marR="76200" marT="38100" marB="38100" anchor="ctr" horzOverflow="overflow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>
                      <a:lvl1pPr marL="0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57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514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772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9029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286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543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800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8058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rgbClr val="051C2C"/>
                        </a:solidFill>
                        <a:effectLst/>
                        <a:latin typeface="+mj-lt"/>
                        <a:cs typeface="Times New Roman" panose="02020603050405020304" pitchFamily="18" charset="0"/>
                      </a:endParaRPr>
                    </a:p>
                  </a:txBody>
                  <a:tcPr marL="76200" marR="76200" marT="38100" marB="38100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57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514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772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9029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286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543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800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8058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solidFill>
                            <a:srgbClr val="051C2C"/>
                          </a:solidFill>
                          <a:effectLst/>
                          <a:latin typeface="+mj-lt"/>
                        </a:rPr>
                        <a:t>Sindh</a:t>
                      </a: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rgbClr val="051C2C"/>
                        </a:solidFill>
                        <a:effectLst/>
                        <a:latin typeface="+mj-lt"/>
                        <a:cs typeface="Times New Roman" panose="02020603050405020304" pitchFamily="18" charset="0"/>
                      </a:endParaRPr>
                    </a:p>
                  </a:txBody>
                  <a:tcPr marL="76200" marR="76200" marT="38100" marB="38100" anchor="ctr" horzOverflow="overflow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57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514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772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9029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286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543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800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8058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solidFill>
                            <a:srgbClr val="051C2C"/>
                          </a:solidFill>
                          <a:effectLst/>
                          <a:latin typeface="+mj-lt"/>
                        </a:rPr>
                        <a:t>KP</a:t>
                      </a: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rgbClr val="051C2C"/>
                        </a:solidFill>
                        <a:effectLst/>
                        <a:latin typeface="+mj-lt"/>
                        <a:cs typeface="Times New Roman" panose="02020603050405020304" pitchFamily="18" charset="0"/>
                      </a:endParaRPr>
                    </a:p>
                  </a:txBody>
                  <a:tcPr marL="76200" marR="76200" marT="38100" marB="38100" anchor="ctr" horzOverflow="overflow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57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514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772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9029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286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543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800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8058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solidFill>
                            <a:srgbClr val="051C2C"/>
                          </a:solidFill>
                          <a:effectLst/>
                          <a:latin typeface="+mj-lt"/>
                        </a:rPr>
                        <a:t>Balochistan</a:t>
                      </a: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rgbClr val="051C2C"/>
                        </a:solidFill>
                        <a:effectLst/>
                        <a:latin typeface="+mj-lt"/>
                        <a:cs typeface="Times New Roman" panose="02020603050405020304" pitchFamily="18" charset="0"/>
                      </a:endParaRPr>
                    </a:p>
                  </a:txBody>
                  <a:tcPr marL="76200" marR="76200" marT="38100" marB="38100" anchor="ctr" horzOverflow="overflow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9304">
                <a:tc>
                  <a:txBody>
                    <a:bodyPr/>
                    <a:lstStyle>
                      <a:lvl1pPr marL="0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57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514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772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9029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286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543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800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8058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solidFill>
                            <a:srgbClr val="051C2C"/>
                          </a:solidFill>
                          <a:effectLst/>
                          <a:latin typeface="+mj-lt"/>
                        </a:rPr>
                        <a:t>6.7% </a:t>
                      </a:r>
                      <a:b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solidFill>
                            <a:srgbClr val="051C2C"/>
                          </a:solidFill>
                          <a:effectLst/>
                          <a:latin typeface="+mj-lt"/>
                        </a:rPr>
                      </a:br>
                      <a:r>
                        <a:rPr kumimoji="0" lang="en-US" sz="100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51C2C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(2008)</a:t>
                      </a:r>
                      <a:endParaRPr kumimoji="0" lang="en-US" sz="1000" b="1" u="none" strike="noStrike" cap="none" normalizeH="0" baseline="0" dirty="0">
                        <a:ln>
                          <a:noFill/>
                        </a:ln>
                        <a:solidFill>
                          <a:srgbClr val="051C2C"/>
                        </a:solidFill>
                        <a:effectLst/>
                        <a:latin typeface="+mj-lt"/>
                        <a:cs typeface="Times New Roman" panose="02020603050405020304" pitchFamily="18" charset="0"/>
                      </a:endParaRPr>
                    </a:p>
                  </a:txBody>
                  <a:tcPr marL="76200" marR="76200" marT="38100" marB="38100" horzOverflow="overflow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57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514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772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9029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286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543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800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8058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+mj-lt"/>
                        </a:rPr>
                        <a:t>8.9% </a:t>
                      </a:r>
                      <a:b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+mj-lt"/>
                        </a:rPr>
                      </a:br>
                      <a:r>
                        <a:rPr kumimoji="0" lang="en-US" sz="100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(HPS 2018)</a:t>
                      </a:r>
                      <a:endParaRPr kumimoji="0" 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+mj-lt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76200" marR="76200" marT="38100" marB="3810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57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514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772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9029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286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543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800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8058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solidFill>
                            <a:srgbClr val="051C2C"/>
                          </a:solidFill>
                          <a:effectLst/>
                          <a:latin typeface="+mj-lt"/>
                        </a:rPr>
                        <a:t>5.0%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51C2C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(2008)</a:t>
                      </a:r>
                      <a:r>
                        <a:rPr kumimoji="0" lang="en-US" sz="1000" u="none" strike="noStrike" cap="none" normalizeH="0" baseline="0" dirty="0">
                          <a:ln>
                            <a:noFill/>
                          </a:ln>
                          <a:solidFill>
                            <a:srgbClr val="051C2C"/>
                          </a:solidFill>
                          <a:effectLst/>
                          <a:latin typeface="+mj-lt"/>
                        </a:rPr>
                        <a:t> </a:t>
                      </a:r>
                      <a:endParaRPr kumimoji="0" lang="en-US" sz="1000" b="1" u="none" strike="noStrike" cap="none" normalizeH="0" baseline="0" dirty="0">
                        <a:ln>
                          <a:noFill/>
                        </a:ln>
                        <a:solidFill>
                          <a:srgbClr val="051C2C"/>
                        </a:solidFill>
                        <a:effectLst/>
                        <a:latin typeface="+mj-lt"/>
                        <a:cs typeface="Times New Roman" panose="02020603050405020304" pitchFamily="18" charset="0"/>
                      </a:endParaRPr>
                    </a:p>
                  </a:txBody>
                  <a:tcPr marL="76200" marR="76200" marT="38100" marB="38100" horzOverflow="overflow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+mj-lt"/>
                          <a:cs typeface="Times New Roman" panose="02020603050405020304" pitchFamily="18" charset="0"/>
                        </a:rPr>
                        <a:t>6.1%</a:t>
                      </a:r>
                      <a:r>
                        <a:rPr kumimoji="0" 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+mj-lt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kumimoji="0" lang="en-US" sz="1000" b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+mj-lt"/>
                          <a:cs typeface="Times New Roman" panose="02020603050405020304" pitchFamily="18" charset="0"/>
                        </a:rPr>
                        <a:t>(2019)</a:t>
                      </a:r>
                    </a:p>
                  </a:txBody>
                  <a:tcPr marL="76200" marR="76200" marT="38100" marB="381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57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514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772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9029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286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543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800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8058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solidFill>
                            <a:srgbClr val="051C2C"/>
                          </a:solidFill>
                          <a:effectLst/>
                          <a:latin typeface="+mj-lt"/>
                        </a:rPr>
                        <a:t>1.1%</a:t>
                      </a:r>
                      <a:b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solidFill>
                            <a:srgbClr val="051C2C"/>
                          </a:solidFill>
                          <a:effectLst/>
                          <a:latin typeface="+mj-lt"/>
                        </a:rPr>
                      </a:br>
                      <a:r>
                        <a:rPr kumimoji="0" lang="en-US" sz="100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51C2C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(2008)</a:t>
                      </a:r>
                      <a:endParaRPr kumimoji="0" lang="en-US" sz="1000" b="1" u="none" strike="noStrike" cap="none" normalizeH="0" baseline="0" dirty="0">
                        <a:ln>
                          <a:noFill/>
                        </a:ln>
                        <a:solidFill>
                          <a:srgbClr val="051C2C"/>
                        </a:solidFill>
                        <a:effectLst/>
                        <a:latin typeface="+mj-lt"/>
                        <a:cs typeface="Times New Roman" panose="02020603050405020304" pitchFamily="18" charset="0"/>
                      </a:endParaRPr>
                    </a:p>
                  </a:txBody>
                  <a:tcPr marL="76200" marR="76200" marT="38100" marB="38100" horzOverflow="overflow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57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514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772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9029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286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543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800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8058" algn="l" defTabSz="914514" rtl="0" eaLnBrk="1" latinLnBrk="0" hangingPunct="1">
                        <a:defRPr sz="178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solidFill>
                            <a:srgbClr val="051C2C"/>
                          </a:solidFill>
                          <a:effectLst/>
                          <a:latin typeface="+mj-lt"/>
                        </a:rPr>
                        <a:t>1.5%</a:t>
                      </a:r>
                      <a:b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solidFill>
                            <a:srgbClr val="051C2C"/>
                          </a:solidFill>
                          <a:effectLst/>
                          <a:latin typeface="+mj-lt"/>
                        </a:rPr>
                      </a:br>
                      <a:r>
                        <a:rPr kumimoji="0" lang="en-US" sz="1000" u="none" strike="noStrike" cap="none" normalizeH="0" baseline="0" dirty="0">
                          <a:ln>
                            <a:noFill/>
                          </a:ln>
                          <a:solidFill>
                            <a:srgbClr val="051C2C"/>
                          </a:solidFill>
                          <a:effectLst/>
                          <a:latin typeface="+mj-lt"/>
                        </a:rPr>
                        <a:t>(2008)</a:t>
                      </a:r>
                      <a:endParaRPr kumimoji="0" lang="en-US" sz="1400" b="1" u="none" strike="noStrike" cap="none" normalizeH="0" baseline="0" dirty="0">
                        <a:ln>
                          <a:noFill/>
                        </a:ln>
                        <a:solidFill>
                          <a:srgbClr val="051C2C"/>
                        </a:solidFill>
                        <a:effectLst/>
                        <a:latin typeface="+mj-lt"/>
                        <a:cs typeface="Times New Roman" panose="02020603050405020304" pitchFamily="18" charset="0"/>
                      </a:endParaRPr>
                    </a:p>
                  </a:txBody>
                  <a:tcPr marL="76200" marR="76200" marT="38100" marB="38100" horzOverflow="overflow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43" name="TextBox 42">
            <a:extLst>
              <a:ext uri="{FF2B5EF4-FFF2-40B4-BE49-F238E27FC236}">
                <a16:creationId xmlns:a16="http://schemas.microsoft.com/office/drawing/2014/main" id="{64AEED30-8C97-174F-AAF0-263421A5F209}"/>
              </a:ext>
            </a:extLst>
          </p:cNvPr>
          <p:cNvSpPr txBox="1"/>
          <p:nvPr/>
        </p:nvSpPr>
        <p:spPr>
          <a:xfrm>
            <a:off x="457200" y="6330092"/>
            <a:ext cx="5145591" cy="70788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PK" sz="10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*P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kistan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Medical Research Council Survey 200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**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lobal Epidemiology of Viral Hepatitis by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enter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ease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alysis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ndation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b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0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K" sz="10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Isosceles Triangle 5"/>
          <p:cNvSpPr/>
          <p:nvPr/>
        </p:nvSpPr>
        <p:spPr>
          <a:xfrm rot="5400000">
            <a:off x="1503501" y="5830723"/>
            <a:ext cx="167384" cy="122314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66126C87-4932-D241-9D9C-7BB6383D635B}"/>
              </a:ext>
            </a:extLst>
          </p:cNvPr>
          <p:cNvSpPr txBox="1">
            <a:spLocks/>
          </p:cNvSpPr>
          <p:nvPr/>
        </p:nvSpPr>
        <p:spPr>
          <a:xfrm>
            <a:off x="506110" y="5025377"/>
            <a:ext cx="5653907" cy="32424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j-ea"/>
                <a:cs typeface="Arial" panose="020B0604020202020204" pitchFamily="34" charset="0"/>
              </a:rPr>
              <a:t>Among provinces,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j-ea"/>
                <a:cs typeface="Arial" panose="020B0604020202020204" pitchFamily="34" charset="0"/>
              </a:rPr>
              <a:t>Punjab has highest prevalence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j-ea"/>
                <a:cs typeface="Arial" panose="020B0604020202020204" pitchFamily="34" charset="0"/>
              </a:rPr>
              <a:t>with an increasing trend</a:t>
            </a:r>
          </a:p>
        </p:txBody>
      </p:sp>
      <p:sp>
        <p:nvSpPr>
          <p:cNvPr id="49" name="Freeform: Shape 36">
            <a:extLst>
              <a:ext uri="{FF2B5EF4-FFF2-40B4-BE49-F238E27FC236}">
                <a16:creationId xmlns:a16="http://schemas.microsoft.com/office/drawing/2014/main" id="{CD22A8B6-5AF0-4015-9AE5-77127840E1E4}"/>
              </a:ext>
            </a:extLst>
          </p:cNvPr>
          <p:cNvSpPr>
            <a:spLocks noChangeAspect="1"/>
          </p:cNvSpPr>
          <p:nvPr/>
        </p:nvSpPr>
        <p:spPr>
          <a:xfrm>
            <a:off x="6355740" y="3428241"/>
            <a:ext cx="103571" cy="195256"/>
          </a:xfrm>
          <a:custGeom>
            <a:avLst/>
            <a:gdLst/>
            <a:ahLst/>
            <a:cxnLst/>
            <a:rect l="0" t="0" r="0" b="0"/>
            <a:pathLst>
              <a:path w="103601" h="195312">
                <a:moveTo>
                  <a:pt x="9358" y="193790"/>
                </a:moveTo>
                <a:lnTo>
                  <a:pt x="101575" y="101574"/>
                </a:lnTo>
                <a:lnTo>
                  <a:pt x="103600" y="99549"/>
                </a:lnTo>
                <a:lnTo>
                  <a:pt x="103600" y="96266"/>
                </a:lnTo>
                <a:lnTo>
                  <a:pt x="101575" y="94241"/>
                </a:lnTo>
                <a:lnTo>
                  <a:pt x="9358" y="2025"/>
                </a:lnTo>
                <a:lnTo>
                  <a:pt x="7332" y="0"/>
                </a:lnTo>
                <a:lnTo>
                  <a:pt x="4049" y="0"/>
                </a:lnTo>
                <a:lnTo>
                  <a:pt x="2026" y="2025"/>
                </a:lnTo>
                <a:lnTo>
                  <a:pt x="0" y="4048"/>
                </a:lnTo>
                <a:lnTo>
                  <a:pt x="0" y="7331"/>
                </a:lnTo>
                <a:lnTo>
                  <a:pt x="2026" y="9357"/>
                </a:lnTo>
                <a:lnTo>
                  <a:pt x="90576" y="97907"/>
                </a:lnTo>
                <a:lnTo>
                  <a:pt x="2026" y="186459"/>
                </a:lnTo>
                <a:lnTo>
                  <a:pt x="0" y="188483"/>
                </a:lnTo>
                <a:lnTo>
                  <a:pt x="0" y="191766"/>
                </a:lnTo>
                <a:lnTo>
                  <a:pt x="2026" y="193790"/>
                </a:lnTo>
                <a:lnTo>
                  <a:pt x="3040" y="194805"/>
                </a:lnTo>
                <a:lnTo>
                  <a:pt x="4366" y="195311"/>
                </a:lnTo>
                <a:lnTo>
                  <a:pt x="5692" y="195311"/>
                </a:lnTo>
                <a:lnTo>
                  <a:pt x="7017" y="195311"/>
                </a:lnTo>
                <a:lnTo>
                  <a:pt x="8348" y="194805"/>
                </a:lnTo>
                <a:close/>
              </a:path>
            </a:pathLst>
          </a:cu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878491" y="1866500"/>
            <a:ext cx="4784970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7F7F7F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51C2C"/>
              </a:buClr>
              <a:buSzTx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ery 20 minutes, a Pakistani dies of HCV related complications </a:t>
            </a: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liver cirrhosis and cancer)</a:t>
            </a:r>
          </a:p>
          <a:p>
            <a:pPr marL="576263" marR="0" lvl="1" indent="-339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ound 500 patients with hepatitis related kidney and liver failures have received life saving transplants from PKLI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7F7F7F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lvl="0"/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CV carries the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me cancer risk as smoking 20 cigarettes a day</a:t>
            </a:r>
            <a:endParaRPr lang="en-US" b="1" dirty="0">
              <a:solidFill>
                <a:srgbClr val="051C2C"/>
              </a:solidFill>
              <a:latin typeface="Arial"/>
            </a:endParaRPr>
          </a:p>
          <a:p>
            <a:pPr marL="576263" lvl="1" indent="-339725">
              <a:buFont typeface="Wingdings" panose="05000000000000000000" pitchFamily="2" charset="2"/>
              <a:buChar char="§"/>
            </a:pPr>
            <a:r>
              <a:rPr kumimoji="0" lang="en-US" sz="1600" i="0" u="none" strike="noStrike" kern="1200" cap="none" spc="0" normalizeH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</a:rPr>
              <a:t>~</a:t>
            </a:r>
            <a:r>
              <a:rPr lang="en-US" sz="1600" dirty="0">
                <a:solidFill>
                  <a:srgbClr val="7F7F7F">
                    <a:lumMod val="50000"/>
                  </a:srgbClr>
                </a:solidFill>
              </a:rPr>
              <a:t>20,000 new HCV related Liver Cancer cases per year 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Arial"/>
            </a:endParaRPr>
          </a:p>
          <a:p>
            <a:pPr marL="339725" marR="0" lvl="0" indent="-339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lang="en-US" b="1" dirty="0">
              <a:solidFill>
                <a:srgbClr val="FF0000"/>
              </a:solidFill>
              <a:latin typeface="Arial"/>
            </a:endParaRPr>
          </a:p>
        </p:txBody>
      </p:sp>
      <p:sp>
        <p:nvSpPr>
          <p:cNvPr id="52" name="Title 1">
            <a:extLst>
              <a:ext uri="{FF2B5EF4-FFF2-40B4-BE49-F238E27FC236}">
                <a16:creationId xmlns:a16="http://schemas.microsoft.com/office/drawing/2014/main" id="{66126C87-4932-D241-9D9C-7BB6383D635B}"/>
              </a:ext>
            </a:extLst>
          </p:cNvPr>
          <p:cNvSpPr txBox="1">
            <a:spLocks/>
          </p:cNvSpPr>
          <p:nvPr/>
        </p:nvSpPr>
        <p:spPr>
          <a:xfrm>
            <a:off x="6661920" y="1482603"/>
            <a:ext cx="5555303" cy="32424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j-ea"/>
                <a:cs typeface="Arial" panose="020B0604020202020204" pitchFamily="34" charset="0"/>
              </a:rPr>
              <a:t>Consequently….</a:t>
            </a:r>
          </a:p>
        </p:txBody>
      </p:sp>
      <p:cxnSp>
        <p:nvCxnSpPr>
          <p:cNvPr id="4" name="Straight Connector 3"/>
          <p:cNvCxnSpPr/>
          <p:nvPr/>
        </p:nvCxnSpPr>
        <p:spPr>
          <a:xfrm>
            <a:off x="576903" y="1891851"/>
            <a:ext cx="5583114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val 22"/>
          <p:cNvSpPr/>
          <p:nvPr/>
        </p:nvSpPr>
        <p:spPr>
          <a:xfrm>
            <a:off x="4078116" y="2876075"/>
            <a:ext cx="493884" cy="382011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Isosceles Triangle 17"/>
          <p:cNvSpPr/>
          <p:nvPr/>
        </p:nvSpPr>
        <p:spPr>
          <a:xfrm rot="5400000">
            <a:off x="3107769" y="5837369"/>
            <a:ext cx="167384" cy="122314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Isosceles Triangle 18"/>
          <p:cNvSpPr/>
          <p:nvPr/>
        </p:nvSpPr>
        <p:spPr>
          <a:xfrm rot="5400000">
            <a:off x="3107769" y="5815548"/>
            <a:ext cx="167384" cy="122314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57594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3C5649-0DFD-420B-BF74-61017D4230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48222"/>
            <a:ext cx="10515600" cy="955082"/>
          </a:xfrm>
        </p:spPr>
        <p:txBody>
          <a:bodyPr/>
          <a:lstStyle/>
          <a:p>
            <a:r>
              <a:rPr lang="en-US" dirty="0"/>
              <a:t>HCV Prevalence:2022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F58619F4-0FBA-4D81-A848-95983B9D26FD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812800" y="1645921"/>
          <a:ext cx="9639300" cy="4393124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090127">
                  <a:extLst>
                    <a:ext uri="{9D8B030D-6E8A-4147-A177-3AD203B41FA5}">
                      <a16:colId xmlns:a16="http://schemas.microsoft.com/office/drawing/2014/main" val="1870929618"/>
                    </a:ext>
                  </a:extLst>
                </a:gridCol>
                <a:gridCol w="2037262">
                  <a:extLst>
                    <a:ext uri="{9D8B030D-6E8A-4147-A177-3AD203B41FA5}">
                      <a16:colId xmlns:a16="http://schemas.microsoft.com/office/drawing/2014/main" val="2381950984"/>
                    </a:ext>
                  </a:extLst>
                </a:gridCol>
                <a:gridCol w="1239391">
                  <a:extLst>
                    <a:ext uri="{9D8B030D-6E8A-4147-A177-3AD203B41FA5}">
                      <a16:colId xmlns:a16="http://schemas.microsoft.com/office/drawing/2014/main" val="3837179099"/>
                    </a:ext>
                  </a:extLst>
                </a:gridCol>
                <a:gridCol w="2661796">
                  <a:extLst>
                    <a:ext uri="{9D8B030D-6E8A-4147-A177-3AD203B41FA5}">
                      <a16:colId xmlns:a16="http://schemas.microsoft.com/office/drawing/2014/main" val="4276309137"/>
                    </a:ext>
                  </a:extLst>
                </a:gridCol>
                <a:gridCol w="1610724">
                  <a:extLst>
                    <a:ext uri="{9D8B030D-6E8A-4147-A177-3AD203B41FA5}">
                      <a16:colId xmlns:a16="http://schemas.microsoft.com/office/drawing/2014/main" val="1641453785"/>
                    </a:ext>
                  </a:extLst>
                </a:gridCol>
              </a:tblGrid>
              <a:tr h="94165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/>
                        <a:t>Province</a:t>
                      </a:r>
                      <a:endParaRPr lang="en-US" sz="1800" b="1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/>
                        <a:t>Anti-HCV Prevalence </a:t>
                      </a:r>
                      <a:endParaRPr lang="en-US" sz="1800" b="1" kern="1200" dirty="0">
                        <a:solidFill>
                          <a:schemeClr val="bg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Viremic Prevalenc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Anti-HCV Prevalence Sourc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Viremic Infections in 202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84936771"/>
                  </a:ext>
                </a:extLst>
              </a:tr>
              <a:tr h="454511"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u="none" strike="noStrike" dirty="0">
                          <a:effectLst/>
                        </a:rPr>
                        <a:t>Punjab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/>
                        <a:t>8.9%</a:t>
                      </a:r>
                      <a:endParaRPr lang="en-US" sz="1800" b="1" kern="12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tx1"/>
                          </a:solidFill>
                          <a:latin typeface="+mj-lt"/>
                        </a:rPr>
                        <a:t>4.8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/>
                        <a:t>APEX 2019</a:t>
                      </a:r>
                      <a:endParaRPr lang="en-US" sz="1800" b="1" kern="12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tx1"/>
                          </a:solidFill>
                          <a:latin typeface="+mj-lt"/>
                        </a:rPr>
                        <a:t>5,739,00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96440073"/>
                  </a:ext>
                </a:extLst>
              </a:tr>
              <a:tr h="659154"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u="none" strike="noStrike" dirty="0">
                          <a:effectLst/>
                        </a:rPr>
                        <a:t>Sindh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/>
                        <a:t>6.2%</a:t>
                      </a:r>
                      <a:endParaRPr lang="en-US" sz="1800" b="1" kern="12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tx1"/>
                          </a:solidFill>
                          <a:latin typeface="+mj-lt"/>
                        </a:rPr>
                        <a:t>3.8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/>
                        <a:t>Qureshi </a:t>
                      </a:r>
                      <a:r>
                        <a:rPr lang="en-US" sz="1800" b="1" kern="1200" dirty="0"/>
                        <a:t>2020, unpublished</a:t>
                      </a:r>
                      <a:endParaRPr lang="en-US" sz="1800" b="1" kern="12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tx1"/>
                          </a:solidFill>
                          <a:latin typeface="+mj-lt"/>
                        </a:rPr>
                        <a:t>1,994,00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29977858"/>
                  </a:ext>
                </a:extLst>
              </a:tr>
              <a:tr h="659154"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u="none" strike="noStrike" dirty="0">
                          <a:effectLst/>
                        </a:rPr>
                        <a:t>Balochistan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tx1"/>
                          </a:solidFill>
                          <a:latin typeface="+mj-lt"/>
                        </a:rPr>
                        <a:t>5.2%</a:t>
                      </a:r>
                    </a:p>
                  </a:txBody>
                  <a:tcPr anchor="ctr">
                    <a:solidFill>
                      <a:srgbClr val="D7D5E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tx1"/>
                          </a:solidFill>
                          <a:latin typeface="+mj-lt"/>
                        </a:rPr>
                        <a:t>3.1%</a:t>
                      </a:r>
                    </a:p>
                  </a:txBody>
                  <a:tcPr anchor="ctr">
                    <a:solidFill>
                      <a:srgbClr val="D7D5E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tx1"/>
                          </a:solidFill>
                          <a:latin typeface="+mj-lt"/>
                        </a:rPr>
                        <a:t>Sabeen 2021, unpublished</a:t>
                      </a:r>
                    </a:p>
                  </a:txBody>
                  <a:tcPr anchor="ctr">
                    <a:solidFill>
                      <a:srgbClr val="D7D5E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tx1"/>
                          </a:solidFill>
                          <a:latin typeface="+mj-lt"/>
                        </a:rPr>
                        <a:t>419,000</a:t>
                      </a:r>
                    </a:p>
                  </a:txBody>
                  <a:tcPr anchor="ctr">
                    <a:solidFill>
                      <a:srgbClr val="D7D5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8084780"/>
                  </a:ext>
                </a:extLst>
              </a:tr>
              <a:tr h="564990"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u="none" strike="noStrike" dirty="0">
                          <a:effectLst/>
                        </a:rPr>
                        <a:t>Khyber Pakhtunkhwa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.5%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.8%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OH 2020 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,256,000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5047992"/>
                  </a:ext>
                </a:extLst>
              </a:tr>
              <a:tr h="659154"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u="none" strike="noStrike" dirty="0">
                          <a:effectLst/>
                        </a:rPr>
                        <a:t>GB, ICT, AJK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D5E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D5E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.3%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D5E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trapolated from provinces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D5E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67,000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D5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3850684"/>
                  </a:ext>
                </a:extLst>
              </a:tr>
              <a:tr h="45451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akista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.3%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,775,000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2021105"/>
                  </a:ext>
                </a:extLst>
              </a:tr>
            </a:tbl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4CFA44B-3749-4A9D-956E-A46523388B1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39900" y="6376280"/>
            <a:ext cx="8362950" cy="365125"/>
          </a:xfrm>
        </p:spPr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  <a:p>
            <a:pPr marL="171450" indent="-171450">
              <a:buFontTx/>
              <a:buChar char="-"/>
            </a:pPr>
            <a:r>
              <a:rPr lang="en-US" dirty="0"/>
              <a:t> APEX Consulting. Final Report - Population based Prevalence Survey of Hepatitis B&amp;C Punjab, 2018. April 2019 </a:t>
            </a:r>
          </a:p>
          <a:p>
            <a:pPr marL="171450" indent="-171450">
              <a:buFontTx/>
              <a:buChar char="-"/>
            </a:pPr>
            <a:r>
              <a:rPr lang="en-US" dirty="0"/>
              <a:t>Qureshi H, Prevalence of HCV in Sindh Province, Pakistan. Unpublished. Shared July 19, 2020 (Qureshi 2020, unpublished)</a:t>
            </a:r>
          </a:p>
          <a:p>
            <a:pPr marL="171450" indent="-171450">
              <a:buFontTx/>
              <a:buChar char="-"/>
            </a:pPr>
            <a:r>
              <a:rPr lang="en-US" dirty="0" err="1"/>
              <a:t>Balochistan</a:t>
            </a:r>
            <a:r>
              <a:rPr lang="en-US" dirty="0"/>
              <a:t> Hepatitis Screening data, shared by Dr. Gul Sabeen Azam </a:t>
            </a:r>
            <a:r>
              <a:rPr lang="pt-BR" dirty="0"/>
              <a:t>Ghorizai </a:t>
            </a:r>
            <a:r>
              <a:rPr lang="en-US" dirty="0"/>
              <a:t>210713 (Sabeen 2021, unpublished) </a:t>
            </a:r>
          </a:p>
          <a:p>
            <a:r>
              <a:rPr lang="en-US" dirty="0"/>
              <a:t>-   Ministry of Health. Prime Minister’s Programme for Elimination of Hepatitis C: Annexures to Programme PC-I. 2020 (MOH 2020) 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7" name="Picture 4" descr="Text&#10;&#10;Description automatically generated with low confidence">
            <a:extLst>
              <a:ext uri="{FF2B5EF4-FFF2-40B4-BE49-F238E27FC236}">
                <a16:creationId xmlns:a16="http://schemas.microsoft.com/office/drawing/2014/main" id="{D57F6D31-9687-8523-1AC1-108EA06F69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102850" y="205604"/>
            <a:ext cx="1850904" cy="1642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669475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hart 8"/>
          <p:cNvGraphicFramePr/>
          <p:nvPr>
            <p:extLst>
              <p:ext uri="{D42A27DB-BD31-4B8C-83A1-F6EECF244321}">
                <p14:modId xmlns:p14="http://schemas.microsoft.com/office/powerpoint/2010/main" val="1349428990"/>
              </p:ext>
            </p:extLst>
          </p:nvPr>
        </p:nvGraphicFramePr>
        <p:xfrm>
          <a:off x="3758718" y="632578"/>
          <a:ext cx="8131623" cy="3153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Rectangle 10"/>
          <p:cNvSpPr/>
          <p:nvPr/>
        </p:nvSpPr>
        <p:spPr>
          <a:xfrm>
            <a:off x="0" y="0"/>
            <a:ext cx="3430657" cy="6858000"/>
          </a:xfrm>
          <a:prstGeom prst="rect">
            <a:avLst/>
          </a:prstGeom>
          <a:solidFill>
            <a:srgbClr val="AB151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96875" marR="0" lvl="0" indent="6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f we don’t take actions now, HCV Infections are projected to reach 	</a:t>
            </a:r>
          </a:p>
          <a:p>
            <a:pPr marL="396875" marR="0" lvl="0" indent="6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1 Million by 2035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resulting in:</a:t>
            </a:r>
          </a:p>
          <a:p>
            <a:pPr marL="746125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746125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0,000+ years of disability annually, </a:t>
            </a:r>
          </a:p>
          <a:p>
            <a:pPr marL="746125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50,000+ years of life lost annually,</a:t>
            </a:r>
          </a:p>
          <a:p>
            <a:pPr marL="746125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ath and disability related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DP loss of ~$3 Billion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07748" y="233726"/>
            <a:ext cx="269496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st of Inaction: </a:t>
            </a:r>
          </a:p>
        </p:txBody>
      </p:sp>
      <p:sp>
        <p:nvSpPr>
          <p:cNvPr id="16" name="Google Shape;6;p23">
            <a:extLst>
              <a:ext uri="{FF2B5EF4-FFF2-40B4-BE49-F238E27FC236}">
                <a16:creationId xmlns:a16="http://schemas.microsoft.com/office/drawing/2014/main" id="{721600FE-CA9B-7744-A9B0-983D1190648A}"/>
              </a:ext>
            </a:extLst>
          </p:cNvPr>
          <p:cNvSpPr txBox="1"/>
          <p:nvPr/>
        </p:nvSpPr>
        <p:spPr>
          <a:xfrm>
            <a:off x="5380474" y="6571175"/>
            <a:ext cx="1859068" cy="189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675" tIns="45675" rIns="45675" bIns="45675" anchor="t" anchorCtr="0">
            <a:noAutofit/>
          </a:bodyPr>
          <a:lstStyle/>
          <a:p>
            <a:pPr marL="50800" marR="0" lvl="0" indent="-50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8080"/>
              </a:buClr>
              <a:buSzPts val="800"/>
              <a:buFont typeface="Arial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© 2022. Confidential and Proprietary</a:t>
            </a:r>
            <a:endParaRPr kumimoji="0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0559142" y="3878440"/>
            <a:ext cx="1012372" cy="1719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7659196" y="3878349"/>
            <a:ext cx="327846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0,000+ years of disability annually: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653915" y="3878349"/>
            <a:ext cx="322876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50,000+ years of life lost annually: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646168" y="220100"/>
            <a:ext cx="424430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tal </a:t>
            </a:r>
            <a:r>
              <a:rPr lang="en-US" sz="1400" b="1" dirty="0">
                <a:solidFill>
                  <a:srgbClr val="051C2C"/>
                </a:solidFill>
                <a:latin typeface="Arial"/>
              </a:rPr>
              <a:t>Individuals infected with HCV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2022</a:t>
            </a:r>
            <a:r>
              <a:rPr kumimoji="0" lang="en-US" sz="1400" b="1" i="0" u="none" strike="noStrike" kern="1200" cap="none" spc="0" normalizeH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– 2035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781916" y="1349463"/>
            <a:ext cx="534900" cy="2400317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3" name="Chart 22"/>
          <p:cNvGraphicFramePr/>
          <p:nvPr>
            <p:extLst>
              <p:ext uri="{D42A27DB-BD31-4B8C-83A1-F6EECF244321}">
                <p14:modId xmlns:p14="http://schemas.microsoft.com/office/powerpoint/2010/main" val="1515819260"/>
              </p:ext>
            </p:extLst>
          </p:nvPr>
        </p:nvGraphicFramePr>
        <p:xfrm>
          <a:off x="7735313" y="4191195"/>
          <a:ext cx="4155028" cy="23799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211714" y="4254699"/>
            <a:ext cx="632515" cy="419136"/>
          </a:xfrm>
          <a:prstGeom prst="rect">
            <a:avLst/>
          </a:prstGeom>
        </p:spPr>
      </p:pic>
      <p:graphicFrame>
        <p:nvGraphicFramePr>
          <p:cNvPr id="24" name="Chart 23"/>
          <p:cNvGraphicFramePr/>
          <p:nvPr>
            <p:extLst>
              <p:ext uri="{D42A27DB-BD31-4B8C-83A1-F6EECF244321}">
                <p14:modId xmlns:p14="http://schemas.microsoft.com/office/powerpoint/2010/main" val="4042730702"/>
              </p:ext>
            </p:extLst>
          </p:nvPr>
        </p:nvGraphicFramePr>
        <p:xfrm>
          <a:off x="3758718" y="4191195"/>
          <a:ext cx="3817740" cy="23799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25" name="Picture 24"/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907058" y="4254699"/>
            <a:ext cx="632515" cy="419136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>
          <a:xfrm>
            <a:off x="3667940" y="399249"/>
            <a:ext cx="86594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noProof="0" dirty="0">
                <a:solidFill>
                  <a:srgbClr val="051C2C"/>
                </a:solidFill>
                <a:latin typeface="Arial"/>
              </a:rPr>
              <a:t>In 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</a:rPr>
              <a:t>Millions</a:t>
            </a:r>
          </a:p>
        </p:txBody>
      </p:sp>
      <p:sp>
        <p:nvSpPr>
          <p:cNvPr id="10" name="Parallelogram 9"/>
          <p:cNvSpPr/>
          <p:nvPr/>
        </p:nvSpPr>
        <p:spPr>
          <a:xfrm>
            <a:off x="4382070" y="3303000"/>
            <a:ext cx="136669" cy="316149"/>
          </a:xfrm>
          <a:prstGeom prst="parallelogram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Connector 21"/>
          <p:cNvCxnSpPr/>
          <p:nvPr/>
        </p:nvCxnSpPr>
        <p:spPr>
          <a:xfrm flipV="1">
            <a:off x="4391798" y="3366232"/>
            <a:ext cx="34287" cy="182880"/>
          </a:xfrm>
          <a:prstGeom prst="line">
            <a:avLst/>
          </a:prstGeom>
          <a:ln>
            <a:solidFill>
              <a:srgbClr val="051C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 flipV="1">
            <a:off x="4468207" y="3366232"/>
            <a:ext cx="34287" cy="182880"/>
          </a:xfrm>
          <a:prstGeom prst="line">
            <a:avLst/>
          </a:prstGeom>
          <a:ln>
            <a:solidFill>
              <a:srgbClr val="051C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Elbow Connector 28"/>
          <p:cNvCxnSpPr>
            <a:stCxn id="38" idx="0"/>
            <a:endCxn id="30" idx="0"/>
          </p:cNvCxnSpPr>
          <p:nvPr/>
        </p:nvCxnSpPr>
        <p:spPr>
          <a:xfrm rot="5400000" flipH="1" flipV="1">
            <a:off x="7508612" y="-2488284"/>
            <a:ext cx="657263" cy="7560831"/>
          </a:xfrm>
          <a:prstGeom prst="bentConnector3">
            <a:avLst>
              <a:gd name="adj1" fmla="val 119981"/>
            </a:avLst>
          </a:prstGeom>
          <a:ln>
            <a:solidFill>
              <a:srgbClr val="051C2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/>
          <p:cNvSpPr/>
          <p:nvPr/>
        </p:nvSpPr>
        <p:spPr>
          <a:xfrm>
            <a:off x="11391089" y="963499"/>
            <a:ext cx="453140" cy="2766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915932" y="737778"/>
            <a:ext cx="1021585" cy="248436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20% increase</a:t>
            </a:r>
          </a:p>
        </p:txBody>
      </p:sp>
      <p:sp>
        <p:nvSpPr>
          <p:cNvPr id="38" name="Rectangle 37"/>
          <p:cNvSpPr/>
          <p:nvPr/>
        </p:nvSpPr>
        <p:spPr>
          <a:xfrm>
            <a:off x="3830258" y="1620762"/>
            <a:ext cx="453140" cy="21404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46359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/>
          <p:cNvSpPr/>
          <p:nvPr/>
        </p:nvSpPr>
        <p:spPr>
          <a:xfrm>
            <a:off x="495300" y="1037478"/>
            <a:ext cx="5752157" cy="5502003"/>
          </a:xfrm>
          <a:prstGeom prst="rect">
            <a:avLst/>
          </a:prstGeom>
          <a:solidFill>
            <a:srgbClr val="DBF4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2" name="Google Shape;6;p23">
            <a:extLst>
              <a:ext uri="{FF2B5EF4-FFF2-40B4-BE49-F238E27FC236}">
                <a16:creationId xmlns:a16="http://schemas.microsoft.com/office/drawing/2014/main" id="{721600FE-CA9B-7744-A9B0-983D1190648A}"/>
              </a:ext>
            </a:extLst>
          </p:cNvPr>
          <p:cNvSpPr txBox="1"/>
          <p:nvPr/>
        </p:nvSpPr>
        <p:spPr>
          <a:xfrm>
            <a:off x="5380474" y="6571175"/>
            <a:ext cx="1859068" cy="189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675" tIns="45675" rIns="45675" bIns="45675" anchor="t" anchorCtr="0">
            <a:noAutofit/>
          </a:bodyPr>
          <a:lstStyle/>
          <a:p>
            <a:pPr marL="50800" marR="0" lvl="0" indent="-50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8080"/>
              </a:buClr>
              <a:buSzPts val="800"/>
              <a:buFont typeface="Arial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© 2022. Confidential and Proprietary</a:t>
            </a:r>
            <a:endParaRPr kumimoji="0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4A9F8C2E-0857-F840-F9B9-BA99902F52CE}"/>
              </a:ext>
            </a:extLst>
          </p:cNvPr>
          <p:cNvSpPr txBox="1"/>
          <p:nvPr/>
        </p:nvSpPr>
        <p:spPr>
          <a:xfrm>
            <a:off x="522067" y="1183205"/>
            <a:ext cx="568279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By 2030, if we diagnose 90% of all infections and treat 80% of diagnosed cases, we can achieve:</a:t>
            </a: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B4BFFD39-0247-C735-076D-6A199A9C0E9A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94048" y="5522327"/>
            <a:ext cx="895604" cy="786384"/>
          </a:xfrm>
          <a:prstGeom prst="rect">
            <a:avLst/>
          </a:prstGeom>
        </p:spPr>
      </p:pic>
      <p:grpSp>
        <p:nvGrpSpPr>
          <p:cNvPr id="59" name="Group 58">
            <a:extLst>
              <a:ext uri="{FF2B5EF4-FFF2-40B4-BE49-F238E27FC236}">
                <a16:creationId xmlns:a16="http://schemas.microsoft.com/office/drawing/2014/main" id="{909B6570-6396-AA7D-A9FE-110E8CA3B65A}"/>
              </a:ext>
            </a:extLst>
          </p:cNvPr>
          <p:cNvGrpSpPr/>
          <p:nvPr/>
        </p:nvGrpSpPr>
        <p:grpSpPr>
          <a:xfrm>
            <a:off x="3139339" y="3976671"/>
            <a:ext cx="727010" cy="727010"/>
            <a:chOff x="6242894" y="1982012"/>
            <a:chExt cx="727010" cy="727010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FAF3DFDC-5B6A-8EC6-3CB1-40D9773ABDD6}"/>
                </a:ext>
              </a:extLst>
            </p:cNvPr>
            <p:cNvSpPr/>
            <p:nvPr/>
          </p:nvSpPr>
          <p:spPr>
            <a:xfrm>
              <a:off x="6242894" y="1982012"/>
              <a:ext cx="727010" cy="727010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19050">
              <a:solidFill>
                <a:srgbClr val="C0000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60B0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1" name="Picture 60">
              <a:extLst>
                <a:ext uri="{FF2B5EF4-FFF2-40B4-BE49-F238E27FC236}">
                  <a16:creationId xmlns:a16="http://schemas.microsoft.com/office/drawing/2014/main" id="{8803AE20-CF70-7F70-6356-7B55EA767E9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44931" y="2137418"/>
              <a:ext cx="704433" cy="417884"/>
            </a:xfrm>
            <a:prstGeom prst="rect">
              <a:avLst/>
            </a:prstGeom>
          </p:spPr>
        </p:pic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3E16487A-C79E-DC05-EE91-D2E5BB63FB40}"/>
              </a:ext>
            </a:extLst>
          </p:cNvPr>
          <p:cNvGrpSpPr/>
          <p:nvPr/>
        </p:nvGrpSpPr>
        <p:grpSpPr>
          <a:xfrm>
            <a:off x="978345" y="4039275"/>
            <a:ext cx="727010" cy="727010"/>
            <a:chOff x="3951423" y="4253166"/>
            <a:chExt cx="727010" cy="727010"/>
          </a:xfrm>
        </p:grpSpPr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1F067F00-19EA-D9F2-228A-07349B70210D}"/>
                </a:ext>
              </a:extLst>
            </p:cNvPr>
            <p:cNvSpPr/>
            <p:nvPr/>
          </p:nvSpPr>
          <p:spPr>
            <a:xfrm>
              <a:off x="3951423" y="4253166"/>
              <a:ext cx="727010" cy="727010"/>
            </a:xfrm>
            <a:prstGeom prst="ellipse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9050">
              <a:solidFill>
                <a:schemeClr val="accent3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60B0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4" name="Picture 63">
              <a:extLst>
                <a:ext uri="{FF2B5EF4-FFF2-40B4-BE49-F238E27FC236}">
                  <a16:creationId xmlns:a16="http://schemas.microsoft.com/office/drawing/2014/main" id="{B7B54886-3281-E63A-91E5-6E39D184C78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36322" y="4417321"/>
              <a:ext cx="576072" cy="384048"/>
            </a:xfrm>
            <a:prstGeom prst="rect">
              <a:avLst/>
            </a:prstGeom>
          </p:spPr>
        </p:pic>
      </p:grpSp>
      <p:sp>
        <p:nvSpPr>
          <p:cNvPr id="65" name="TextBox 64">
            <a:extLst>
              <a:ext uri="{FF2B5EF4-FFF2-40B4-BE49-F238E27FC236}">
                <a16:creationId xmlns:a16="http://schemas.microsoft.com/office/drawing/2014/main" id="{36B4FB0E-0A58-9ABF-20D3-E0D4619769A5}"/>
              </a:ext>
            </a:extLst>
          </p:cNvPr>
          <p:cNvSpPr txBox="1"/>
          <p:nvPr/>
        </p:nvSpPr>
        <p:spPr>
          <a:xfrm>
            <a:off x="1818181" y="4132634"/>
            <a:ext cx="89159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Cirrhosis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-482,000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4A6CAE5B-C471-011E-946A-6027C37311BC}"/>
              </a:ext>
            </a:extLst>
          </p:cNvPr>
          <p:cNvSpPr txBox="1"/>
          <p:nvPr/>
        </p:nvSpPr>
        <p:spPr>
          <a:xfrm>
            <a:off x="3962703" y="4109915"/>
            <a:ext cx="119936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Liver Cancer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-92,000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B0FE7178-FD95-1533-A880-8CC65E624E98}"/>
              </a:ext>
            </a:extLst>
          </p:cNvPr>
          <p:cNvSpPr txBox="1"/>
          <p:nvPr/>
        </p:nvSpPr>
        <p:spPr>
          <a:xfrm>
            <a:off x="1789652" y="5653909"/>
            <a:ext cx="88998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Deaths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-136,000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059E1726-5A6F-186E-D68E-5B91F6D2355B}"/>
              </a:ext>
            </a:extLst>
          </p:cNvPr>
          <p:cNvSpPr txBox="1"/>
          <p:nvPr/>
        </p:nvSpPr>
        <p:spPr>
          <a:xfrm>
            <a:off x="3901261" y="2573364"/>
            <a:ext cx="135966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New Infections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-1,542,000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DE04B024-E3D0-3FAD-DB29-757FACA78490}"/>
              </a:ext>
            </a:extLst>
          </p:cNvPr>
          <p:cNvSpPr txBox="1"/>
          <p:nvPr/>
        </p:nvSpPr>
        <p:spPr>
          <a:xfrm>
            <a:off x="1710082" y="2519280"/>
            <a:ext cx="137826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Total Infections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-7,135,000</a:t>
            </a: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F66C7F18-7345-AD2A-ACDF-66FF11571C15}"/>
              </a:ext>
            </a:extLst>
          </p:cNvPr>
          <p:cNvGrpSpPr/>
          <p:nvPr/>
        </p:nvGrpSpPr>
        <p:grpSpPr>
          <a:xfrm>
            <a:off x="983072" y="2392600"/>
            <a:ext cx="727010" cy="727010"/>
            <a:chOff x="1972039" y="4253166"/>
            <a:chExt cx="727010" cy="727010"/>
          </a:xfrm>
        </p:grpSpPr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5BA3BD3F-4C62-CE74-807C-0417A3DF1CC7}"/>
                </a:ext>
              </a:extLst>
            </p:cNvPr>
            <p:cNvSpPr/>
            <p:nvPr/>
          </p:nvSpPr>
          <p:spPr>
            <a:xfrm>
              <a:off x="1972039" y="4253166"/>
              <a:ext cx="727010" cy="72701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1905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60B0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72" name="Picture 71">
              <a:extLst>
                <a:ext uri="{FF2B5EF4-FFF2-40B4-BE49-F238E27FC236}">
                  <a16:creationId xmlns:a16="http://schemas.microsoft.com/office/drawing/2014/main" id="{98F54647-8123-3B7B-6A4F-2B7F62113E5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97017" y="4378144"/>
              <a:ext cx="477054" cy="477054"/>
            </a:xfrm>
            <a:prstGeom prst="rect">
              <a:avLst/>
            </a:prstGeom>
          </p:spPr>
        </p:pic>
      </p:grpSp>
      <p:sp>
        <p:nvSpPr>
          <p:cNvPr id="73" name="Oval 72">
            <a:extLst>
              <a:ext uri="{FF2B5EF4-FFF2-40B4-BE49-F238E27FC236}">
                <a16:creationId xmlns:a16="http://schemas.microsoft.com/office/drawing/2014/main" id="{947EEFE3-AE29-5991-48A9-18C39E9C5313}"/>
              </a:ext>
            </a:extLst>
          </p:cNvPr>
          <p:cNvSpPr/>
          <p:nvPr/>
        </p:nvSpPr>
        <p:spPr>
          <a:xfrm>
            <a:off x="3085127" y="2403224"/>
            <a:ext cx="727010" cy="72701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solidFill>
              <a:schemeClr val="accent5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860B0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4" name="Picture 73">
            <a:extLst>
              <a:ext uri="{FF2B5EF4-FFF2-40B4-BE49-F238E27FC236}">
                <a16:creationId xmlns:a16="http://schemas.microsoft.com/office/drawing/2014/main" id="{1E65255F-976B-14B4-1771-018D8072109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0105" y="2528202"/>
            <a:ext cx="477054" cy="477054"/>
          </a:xfrm>
          <a:prstGeom prst="rect">
            <a:avLst/>
          </a:prstGeom>
        </p:spPr>
      </p:pic>
      <p:sp>
        <p:nvSpPr>
          <p:cNvPr id="91" name="TextBox 90">
            <a:extLst>
              <a:ext uri="{FF2B5EF4-FFF2-40B4-BE49-F238E27FC236}">
                <a16:creationId xmlns:a16="http://schemas.microsoft.com/office/drawing/2014/main" id="{1E532A6A-DDA7-9B0D-F415-B06561E14CCC}"/>
              </a:ext>
            </a:extLst>
          </p:cNvPr>
          <p:cNvSpPr txBox="1"/>
          <p:nvPr/>
        </p:nvSpPr>
        <p:spPr>
          <a:xfrm>
            <a:off x="602555" y="1962770"/>
            <a:ext cx="43010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5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uced number of cases</a:t>
            </a:r>
          </a:p>
        </p:txBody>
      </p:sp>
      <p:sp>
        <p:nvSpPr>
          <p:cNvPr id="98" name="Freeform: Shape 36">
            <a:extLst>
              <a:ext uri="{FF2B5EF4-FFF2-40B4-BE49-F238E27FC236}">
                <a16:creationId xmlns:a16="http://schemas.microsoft.com/office/drawing/2014/main" id="{CD22A8B6-5AF0-4015-9AE5-77127840E1E4}"/>
              </a:ext>
            </a:extLst>
          </p:cNvPr>
          <p:cNvSpPr>
            <a:spLocks noChangeAspect="1"/>
          </p:cNvSpPr>
          <p:nvPr/>
        </p:nvSpPr>
        <p:spPr>
          <a:xfrm rot="5246541">
            <a:off x="5826708" y="1153126"/>
            <a:ext cx="103571" cy="195256"/>
          </a:xfrm>
          <a:custGeom>
            <a:avLst/>
            <a:gdLst/>
            <a:ahLst/>
            <a:cxnLst/>
            <a:rect l="0" t="0" r="0" b="0"/>
            <a:pathLst>
              <a:path w="103601" h="195312">
                <a:moveTo>
                  <a:pt x="9358" y="193790"/>
                </a:moveTo>
                <a:lnTo>
                  <a:pt x="101575" y="101574"/>
                </a:lnTo>
                <a:lnTo>
                  <a:pt x="103600" y="99549"/>
                </a:lnTo>
                <a:lnTo>
                  <a:pt x="103600" y="96266"/>
                </a:lnTo>
                <a:lnTo>
                  <a:pt x="101575" y="94241"/>
                </a:lnTo>
                <a:lnTo>
                  <a:pt x="9358" y="2025"/>
                </a:lnTo>
                <a:lnTo>
                  <a:pt x="7332" y="0"/>
                </a:lnTo>
                <a:lnTo>
                  <a:pt x="4049" y="0"/>
                </a:lnTo>
                <a:lnTo>
                  <a:pt x="2026" y="2025"/>
                </a:lnTo>
                <a:lnTo>
                  <a:pt x="0" y="4048"/>
                </a:lnTo>
                <a:lnTo>
                  <a:pt x="0" y="7331"/>
                </a:lnTo>
                <a:lnTo>
                  <a:pt x="2026" y="9357"/>
                </a:lnTo>
                <a:lnTo>
                  <a:pt x="90576" y="97907"/>
                </a:lnTo>
                <a:lnTo>
                  <a:pt x="2026" y="186459"/>
                </a:lnTo>
                <a:lnTo>
                  <a:pt x="0" y="188483"/>
                </a:lnTo>
                <a:lnTo>
                  <a:pt x="0" y="191766"/>
                </a:lnTo>
                <a:lnTo>
                  <a:pt x="2026" y="193790"/>
                </a:lnTo>
                <a:lnTo>
                  <a:pt x="3040" y="194805"/>
                </a:lnTo>
                <a:lnTo>
                  <a:pt x="4366" y="195311"/>
                </a:lnTo>
                <a:lnTo>
                  <a:pt x="5692" y="195311"/>
                </a:lnTo>
                <a:lnTo>
                  <a:pt x="7017" y="195311"/>
                </a:lnTo>
                <a:lnTo>
                  <a:pt x="8348" y="194805"/>
                </a:lnTo>
                <a:close/>
              </a:path>
            </a:pathLst>
          </a:cu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Google Shape;579;p3">
            <a:extLst>
              <a:ext uri="{FF2B5EF4-FFF2-40B4-BE49-F238E27FC236}">
                <a16:creationId xmlns:a16="http://schemas.microsoft.com/office/drawing/2014/main" id="{13FCCC93-60FC-1548-B461-319178EC5F4D}"/>
              </a:ext>
            </a:extLst>
          </p:cNvPr>
          <p:cNvSpPr txBox="1"/>
          <p:nvPr/>
        </p:nvSpPr>
        <p:spPr>
          <a:xfrm>
            <a:off x="495299" y="132145"/>
            <a:ext cx="11245986" cy="7676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y adopting an aggressive test and treat approach, the Government can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vent over 130,000 Deaths and 100,000 new cases of liver cancer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Rectangle 30"/>
          <p:cNvSpPr/>
          <p:nvPr/>
        </p:nvSpPr>
        <p:spPr>
          <a:xfrm rot="2724542">
            <a:off x="8116104" y="2943332"/>
            <a:ext cx="2834640" cy="28346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ounded Rectangle 31"/>
          <p:cNvSpPr/>
          <p:nvPr/>
        </p:nvSpPr>
        <p:spPr>
          <a:xfrm>
            <a:off x="7465723" y="2597844"/>
            <a:ext cx="1972485" cy="1677797"/>
          </a:xfrm>
          <a:prstGeom prst="roundRect">
            <a:avLst/>
          </a:prstGeom>
          <a:solidFill>
            <a:srgbClr val="008000"/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3" name="TextBox 32"/>
          <p:cNvSpPr txBox="1"/>
          <p:nvPr/>
        </p:nvSpPr>
        <p:spPr>
          <a:xfrm>
            <a:off x="7553207" y="2651211"/>
            <a:ext cx="13389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</a:rPr>
              <a:t>Educate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7553207" y="2907513"/>
            <a:ext cx="1787963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bg1"/>
                </a:solidFill>
              </a:rPr>
              <a:t>Aggressive Communication and Awareness (ACSM)</a:t>
            </a:r>
          </a:p>
        </p:txBody>
      </p:sp>
      <p:sp>
        <p:nvSpPr>
          <p:cNvPr id="35" name="Rounded Rectangle 34"/>
          <p:cNvSpPr/>
          <p:nvPr/>
        </p:nvSpPr>
        <p:spPr>
          <a:xfrm>
            <a:off x="9577615" y="2597844"/>
            <a:ext cx="2111621" cy="1677797"/>
          </a:xfrm>
          <a:prstGeom prst="roundRect">
            <a:avLst/>
          </a:prstGeom>
          <a:solidFill>
            <a:srgbClr val="008000"/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TextBox 35"/>
          <p:cNvSpPr txBox="1"/>
          <p:nvPr/>
        </p:nvSpPr>
        <p:spPr>
          <a:xfrm>
            <a:off x="9665099" y="2651211"/>
            <a:ext cx="13389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</a:rPr>
              <a:t>Prevent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9643326" y="2885741"/>
            <a:ext cx="204590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bg1"/>
                </a:solidFill>
              </a:rPr>
              <a:t>Hepatitis Bil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bg1"/>
                </a:solidFill>
              </a:rPr>
              <a:t>Registration of Barbers &amp; beauticia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bg1"/>
                </a:solidFill>
              </a:rPr>
              <a:t>non-reusable AD Syring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bg1"/>
                </a:solidFill>
              </a:rPr>
              <a:t>Infectious waste </a:t>
            </a:r>
            <a:r>
              <a:rPr lang="en-US" sz="1300" dirty="0" err="1">
                <a:solidFill>
                  <a:schemeClr val="bg1"/>
                </a:solidFill>
              </a:rPr>
              <a:t>Mgmt</a:t>
            </a:r>
            <a:endParaRPr lang="en-US" sz="1300" dirty="0">
              <a:solidFill>
                <a:schemeClr val="bg1"/>
              </a:solidFill>
            </a:endParaRPr>
          </a:p>
          <a:p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8" name="Rounded Rectangle 37"/>
          <p:cNvSpPr/>
          <p:nvPr/>
        </p:nvSpPr>
        <p:spPr>
          <a:xfrm>
            <a:off x="9576998" y="4426546"/>
            <a:ext cx="2112238" cy="1821893"/>
          </a:xfrm>
          <a:prstGeom prst="roundRect">
            <a:avLst/>
          </a:prstGeom>
          <a:solidFill>
            <a:srgbClr val="008000"/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9" name="TextBox 38"/>
          <p:cNvSpPr txBox="1"/>
          <p:nvPr/>
        </p:nvSpPr>
        <p:spPr>
          <a:xfrm>
            <a:off x="9664482" y="4490799"/>
            <a:ext cx="13389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</a:rPr>
              <a:t>Treat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9664482" y="4768172"/>
            <a:ext cx="2076803" cy="13526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lvl="0" indent="-171450" defTabSz="62230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KLI and PKLI clinics</a:t>
            </a:r>
          </a:p>
          <a:p>
            <a:pPr marL="171450" indent="-171450" defTabSz="62230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en-US" sz="13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0+</a:t>
            </a:r>
            <a:r>
              <a:rPr lang="en-US" sz="13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3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pt</a:t>
            </a:r>
            <a:r>
              <a:rPr lang="en-US" sz="13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nics at DHQ/THQ</a:t>
            </a:r>
          </a:p>
          <a:p>
            <a:pPr marL="171450" lvl="0" indent="-171450" defTabSz="62230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lity Medication regime, SVR12</a:t>
            </a:r>
          </a:p>
          <a:p>
            <a:pPr marL="171450" lvl="0" indent="-171450" defTabSz="62230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or step medicines,</a:t>
            </a:r>
          </a:p>
          <a:p>
            <a:pPr marL="171450" lvl="0" indent="-171450" defTabSz="62230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rtificate of cure</a:t>
            </a:r>
          </a:p>
        </p:txBody>
      </p:sp>
      <p:sp>
        <p:nvSpPr>
          <p:cNvPr id="41" name="Rounded Rectangle 40"/>
          <p:cNvSpPr/>
          <p:nvPr/>
        </p:nvSpPr>
        <p:spPr>
          <a:xfrm>
            <a:off x="7465723" y="4436731"/>
            <a:ext cx="1972485" cy="1821893"/>
          </a:xfrm>
          <a:prstGeom prst="roundRect">
            <a:avLst/>
          </a:prstGeom>
          <a:solidFill>
            <a:srgbClr val="008000"/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2" name="TextBox 41"/>
          <p:cNvSpPr txBox="1"/>
          <p:nvPr/>
        </p:nvSpPr>
        <p:spPr>
          <a:xfrm>
            <a:off x="7553207" y="4500984"/>
            <a:ext cx="13389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</a:rPr>
              <a:t>Test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7553207" y="4789944"/>
            <a:ext cx="1787963" cy="11726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lvl="0" indent="-171450" defTabSz="62230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s Screening camps</a:t>
            </a:r>
          </a:p>
          <a:p>
            <a:pPr marL="171450" lvl="0" indent="-171450" defTabSz="62230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reening of high risk groups</a:t>
            </a:r>
          </a:p>
          <a:p>
            <a:pPr marL="171450" lvl="0" indent="-171450" defTabSz="62230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hance PCR testing capacity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E532A6A-DDA7-9B0D-F415-B06561E14CCC}"/>
              </a:ext>
            </a:extLst>
          </p:cNvPr>
          <p:cNvSpPr txBox="1"/>
          <p:nvPr/>
        </p:nvSpPr>
        <p:spPr>
          <a:xfrm>
            <a:off x="576497" y="3489868"/>
            <a:ext cx="50405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5000"/>
              <a:buFont typeface="Wingdings" panose="05000000000000000000" pitchFamily="2" charset="2"/>
              <a:buChar char="ü"/>
              <a:tabLst/>
              <a:defRPr/>
            </a:pPr>
            <a:r>
              <a:rPr lang="en-US" sz="1600" b="1" dirty="0">
                <a:solidFill>
                  <a:srgbClr val="051C2C"/>
                </a:solidFill>
                <a:latin typeface="Arial"/>
              </a:rPr>
              <a:t>Reduced hospitalization due to complications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E532A6A-DDA7-9B0D-F415-B06561E14CCC}"/>
              </a:ext>
            </a:extLst>
          </p:cNvPr>
          <p:cNvSpPr txBox="1"/>
          <p:nvPr/>
        </p:nvSpPr>
        <p:spPr>
          <a:xfrm>
            <a:off x="576497" y="4960066"/>
            <a:ext cx="50405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5000"/>
              <a:buFont typeface="Wingdings" panose="05000000000000000000" pitchFamily="2" charset="2"/>
              <a:buChar char="ü"/>
              <a:tabLst/>
              <a:defRPr/>
            </a:pPr>
            <a:r>
              <a:rPr lang="en-US" sz="1600" b="1" dirty="0">
                <a:solidFill>
                  <a:srgbClr val="051C2C"/>
                </a:solidFill>
                <a:latin typeface="Arial"/>
              </a:rPr>
              <a:t>Less deaths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6638531" y="1342932"/>
            <a:ext cx="539931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prstClr val="black"/>
                </a:solidFill>
              </a:rPr>
              <a:t>This is not unprecedented, </a:t>
            </a:r>
            <a:r>
              <a:rPr lang="en-US" sz="1400" b="1" dirty="0">
                <a:solidFill>
                  <a:srgbClr val="00B050"/>
                </a:solidFill>
              </a:rPr>
              <a:t>under your leadership Punjab made significant improvement </a:t>
            </a:r>
            <a:r>
              <a:rPr lang="en-US" sz="1400" dirty="0">
                <a:solidFill>
                  <a:prstClr val="black"/>
                </a:solidFill>
              </a:rPr>
              <a:t>in hepatitis </a:t>
            </a:r>
            <a:r>
              <a:rPr lang="en-US" sz="1400" dirty="0">
                <a:solidFill>
                  <a:srgbClr val="051C2C"/>
                </a:solidFill>
              </a:rPr>
              <a:t>elimination in 2016-18:</a:t>
            </a:r>
          </a:p>
        </p:txBody>
      </p:sp>
      <p:sp>
        <p:nvSpPr>
          <p:cNvPr id="3" name="Rectangle 2"/>
          <p:cNvSpPr/>
          <p:nvPr/>
        </p:nvSpPr>
        <p:spPr>
          <a:xfrm>
            <a:off x="6618514" y="1306845"/>
            <a:ext cx="5421086" cy="5126612"/>
          </a:xfrm>
          <a:prstGeom prst="rect">
            <a:avLst/>
          </a:prstGeom>
          <a:noFill/>
          <a:ln>
            <a:solidFill>
              <a:srgbClr val="051C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97A33722-93EE-4643-AF2E-5B7D21634B10}"/>
              </a:ext>
            </a:extLst>
          </p:cNvPr>
          <p:cNvSpPr txBox="1">
            <a:spLocks/>
          </p:cNvSpPr>
          <p:nvPr/>
        </p:nvSpPr>
        <p:spPr>
          <a:xfrm>
            <a:off x="6682951" y="1970847"/>
            <a:ext cx="5292212" cy="26859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unjab’s strategy to</a:t>
            </a:r>
            <a:r>
              <a:rPr kumimoji="0" lang="en-US" sz="1400" strike="noStrike" kern="1200" cap="none" spc="0" normalizeH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eliminate hepatitis:</a:t>
            </a:r>
            <a:endParaRPr kumimoji="0" lang="en-US" sz="1400" strike="noStrike" kern="1200" cap="none" spc="0" normalizeH="0" baseline="0" noProof="0" dirty="0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6781800" y="2246894"/>
            <a:ext cx="4745081" cy="0"/>
          </a:xfrm>
          <a:prstGeom prst="line">
            <a:avLst/>
          </a:prstGeom>
          <a:ln>
            <a:solidFill>
              <a:srgbClr val="051C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931255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4"/>
          <p:cNvSpPr txBox="1">
            <a:spLocks/>
          </p:cNvSpPr>
          <p:nvPr/>
        </p:nvSpPr>
        <p:spPr>
          <a:xfrm>
            <a:off x="689483" y="806899"/>
            <a:ext cx="11219439" cy="118186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75482" rtl="0" eaLnBrk="1" latinLnBrk="0" hangingPunct="1">
              <a:spcBef>
                <a:spcPct val="0"/>
              </a:spcBef>
              <a:buNone/>
              <a:defRPr sz="3800" b="1" kern="1200" cap="all" baseline="0">
                <a:solidFill>
                  <a:srgbClr val="0070C0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ctr" defTabSz="97548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+mj-cs"/>
              </a:rPr>
              <a:t>PRIME MINISTER’S </a:t>
            </a:r>
          </a:p>
          <a:p>
            <a:pPr marL="0" marR="0" lvl="0" indent="0" algn="ctr" defTabSz="97548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+mj-cs"/>
              </a:rPr>
              <a:t>HEPATITIS C ELIMINATION PROGRAM</a:t>
            </a:r>
          </a:p>
          <a:p>
            <a:pPr marL="0" marR="0" lvl="0" indent="0" algn="ctr" defTabSz="97548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293363" y="169551"/>
            <a:ext cx="201168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none" lIns="0" tIns="0" rIns="0" bIns="0" rtlCol="0" anchor="t" anchorCtr="0">
            <a:noAutofit/>
          </a:bodyPr>
          <a:lstStyle/>
          <a:p>
            <a:pPr marL="0" marR="0" lvl="0" indent="0" algn="ctr" defTabSz="9754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Confidential - FOR DISCUSSION ONLY</a:t>
            </a:r>
          </a:p>
        </p:txBody>
      </p:sp>
      <p:sp>
        <p:nvSpPr>
          <p:cNvPr id="16" name="Rectangle 15"/>
          <p:cNvSpPr/>
          <p:nvPr/>
        </p:nvSpPr>
        <p:spPr>
          <a:xfrm>
            <a:off x="0" y="2169632"/>
            <a:ext cx="12192000" cy="2699608"/>
          </a:xfrm>
          <a:prstGeom prst="rect">
            <a:avLst/>
          </a:prstGeom>
          <a:solidFill>
            <a:srgbClr val="01411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26" name="Picture 2" descr="Prime Minister of Pakistan - Wikipedia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2510" y="2325377"/>
            <a:ext cx="3310865" cy="2207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991E012D-A459-FF7F-5A69-F6D884C7C578}"/>
              </a:ext>
            </a:extLst>
          </p:cNvPr>
          <p:cNvSpPr txBox="1"/>
          <p:nvPr/>
        </p:nvSpPr>
        <p:spPr>
          <a:xfrm>
            <a:off x="82062" y="5024985"/>
            <a:ext cx="11915774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Location: All over Pakistan. Duration= 3 years (2024-27)</a:t>
            </a:r>
          </a:p>
          <a:p>
            <a:r>
              <a:rPr lang="en-US" sz="2400" dirty="0"/>
              <a:t>Sponsoring Ministry: Ministry of National Health Services Regulation and Coordinat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64969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Google Shape;265;p2"/>
          <p:cNvSpPr/>
          <p:nvPr/>
        </p:nvSpPr>
        <p:spPr>
          <a:xfrm>
            <a:off x="414754" y="1788577"/>
            <a:ext cx="3604800" cy="4519800"/>
          </a:xfrm>
          <a:prstGeom prst="rect">
            <a:avLst/>
          </a:prstGeom>
          <a:solidFill>
            <a:srgbClr val="FAFAFA"/>
          </a:solidFill>
          <a:ln w="9525" cap="flat" cmpd="sng">
            <a:solidFill>
              <a:srgbClr val="EFEFE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25" rIns="121900" bIns="609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Calibri"/>
              <a:buNone/>
            </a:pPr>
            <a:endParaRPr sz="1500" b="0" i="0" u="none" strike="noStrike" cap="none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66" name="Google Shape;266;p2"/>
          <p:cNvSpPr/>
          <p:nvPr/>
        </p:nvSpPr>
        <p:spPr>
          <a:xfrm>
            <a:off x="4280578" y="1788577"/>
            <a:ext cx="3604800" cy="4519800"/>
          </a:xfrm>
          <a:prstGeom prst="rect">
            <a:avLst/>
          </a:prstGeom>
          <a:solidFill>
            <a:srgbClr val="FAFAFA"/>
          </a:solidFill>
          <a:ln w="9525" cap="flat" cmpd="sng">
            <a:solidFill>
              <a:srgbClr val="EFEFE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25" rIns="121900" bIns="609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Calibri"/>
              <a:buNone/>
            </a:pPr>
            <a:endParaRPr sz="1500" b="0" i="0" u="none" strike="noStrike" cap="none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67" name="Google Shape;267;p2"/>
          <p:cNvSpPr/>
          <p:nvPr/>
        </p:nvSpPr>
        <p:spPr>
          <a:xfrm>
            <a:off x="8146403" y="1788577"/>
            <a:ext cx="3604800" cy="4519800"/>
          </a:xfrm>
          <a:prstGeom prst="rect">
            <a:avLst/>
          </a:prstGeom>
          <a:solidFill>
            <a:srgbClr val="FAFAFA"/>
          </a:solidFill>
          <a:ln w="9525" cap="flat" cmpd="sng">
            <a:solidFill>
              <a:srgbClr val="EFEFE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25" rIns="121900" bIns="609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Calibri"/>
              <a:buNone/>
            </a:pPr>
            <a:endParaRPr sz="1500" b="0" i="0" u="none" strike="noStrike" cap="none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68" name="Google Shape;268;p2"/>
          <p:cNvSpPr txBox="1"/>
          <p:nvPr/>
        </p:nvSpPr>
        <p:spPr>
          <a:xfrm>
            <a:off x="414779" y="3746900"/>
            <a:ext cx="3604800" cy="170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25" rIns="121900" bIns="60925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Pts val="2400"/>
              <a:buFont typeface="Arial"/>
              <a:buNone/>
            </a:pPr>
            <a:r>
              <a:rPr lang="en-US" sz="3600" b="1" i="0" u="none" strike="noStrike" cap="none" dirty="0">
                <a:solidFill>
                  <a:schemeClr val="accent3"/>
                </a:solidFill>
                <a:latin typeface="Calibri"/>
                <a:ea typeface="Calibri"/>
                <a:cs typeface="Calibri"/>
                <a:sym typeface="Calibri"/>
              </a:rPr>
              <a:t>7.5%</a:t>
            </a:r>
            <a:endParaRPr sz="3600" b="1" i="0" u="none" strike="noStrike" cap="none" dirty="0">
              <a:solidFill>
                <a:schemeClr val="accent3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Pts val="2400"/>
              <a:buFont typeface="Arial"/>
              <a:buNone/>
            </a:pPr>
            <a:endParaRPr sz="19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Pts val="2400"/>
              <a:buFont typeface="Arial"/>
              <a:buNone/>
            </a:pPr>
            <a:r>
              <a:rPr lang="en-US" sz="2400" b="1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Prevalence </a:t>
            </a:r>
            <a:r>
              <a:rPr lang="en-US" sz="24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of Hepatitis - C in Pakistan</a:t>
            </a:r>
            <a:endParaRPr sz="2400" b="1" i="0" u="none" strike="noStrike" cap="none" dirty="0">
              <a:solidFill>
                <a:srgbClr val="38761D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9" name="Google Shape;269;p2"/>
          <p:cNvSpPr txBox="1"/>
          <p:nvPr/>
        </p:nvSpPr>
        <p:spPr>
          <a:xfrm>
            <a:off x="4280580" y="3746900"/>
            <a:ext cx="3604800" cy="244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25" rIns="121900" bIns="60925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Pts val="2400"/>
              <a:buFont typeface="Arial"/>
              <a:buNone/>
            </a:pPr>
            <a:r>
              <a:rPr lang="en-US" sz="3600" b="1" i="0" u="none" strike="noStrike" cap="none" dirty="0">
                <a:solidFill>
                  <a:schemeClr val="accent3"/>
                </a:solidFill>
                <a:latin typeface="Calibri"/>
                <a:ea typeface="Calibri"/>
                <a:cs typeface="Calibri"/>
                <a:sym typeface="Calibri"/>
              </a:rPr>
              <a:t>PKR 68.25 billion</a:t>
            </a:r>
            <a:endParaRPr sz="3600" b="1" i="0" u="none" strike="noStrike" cap="none" dirty="0">
              <a:solidFill>
                <a:schemeClr val="accent3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Pts val="2400"/>
              <a:buFont typeface="Arial"/>
              <a:buNone/>
            </a:pPr>
            <a:endParaRPr sz="19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Pts val="2400"/>
              <a:buFont typeface="Arial"/>
              <a:buNone/>
            </a:pPr>
            <a:r>
              <a:rPr lang="en-US" sz="2400" b="1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Project Cost</a:t>
            </a:r>
            <a:r>
              <a:rPr lang="en-US" sz="24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 will be shared among Federal and Provincial Governments (51:49) </a:t>
            </a:r>
            <a:endParaRPr sz="2400" b="1" i="0" u="none" strike="noStrike" cap="none" dirty="0">
              <a:solidFill>
                <a:srgbClr val="38761D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0" name="Google Shape;270;p2"/>
          <p:cNvSpPr txBox="1"/>
          <p:nvPr/>
        </p:nvSpPr>
        <p:spPr>
          <a:xfrm>
            <a:off x="8146380" y="3746900"/>
            <a:ext cx="3604800" cy="170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25" rIns="121900" bIns="60925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Pts val="2400"/>
              <a:buFont typeface="Arial"/>
              <a:buNone/>
            </a:pPr>
            <a:r>
              <a:rPr lang="en-US" sz="3600" b="1" i="0" u="none" strike="noStrike" cap="none" dirty="0">
                <a:solidFill>
                  <a:schemeClr val="accent3"/>
                </a:solidFill>
                <a:latin typeface="Calibri"/>
                <a:ea typeface="Calibri"/>
                <a:cs typeface="Calibri"/>
                <a:sym typeface="Calibri"/>
              </a:rPr>
              <a:t>3 years</a:t>
            </a:r>
            <a:endParaRPr sz="3600" b="1" i="0" u="none" strike="noStrike" cap="none" dirty="0">
              <a:solidFill>
                <a:schemeClr val="accent3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Pts val="2400"/>
              <a:buFont typeface="Arial"/>
              <a:buNone/>
            </a:pPr>
            <a:endParaRPr sz="19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Pts val="2400"/>
              <a:buFont typeface="Arial"/>
              <a:buNone/>
            </a:pPr>
            <a:r>
              <a:rPr lang="en-US" sz="2400" b="1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Duration:</a:t>
            </a:r>
            <a:br>
              <a:rPr lang="en-US" sz="24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24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July 2024-June 2027</a:t>
            </a:r>
            <a:endParaRPr sz="2400" b="1" i="0" u="none" strike="noStrike" cap="none" dirty="0">
              <a:solidFill>
                <a:srgbClr val="38761D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271" name="Google Shape;271;p2"/>
          <p:cNvCxnSpPr/>
          <p:nvPr/>
        </p:nvCxnSpPr>
        <p:spPr>
          <a:xfrm>
            <a:off x="426146" y="1621333"/>
            <a:ext cx="113511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72" name="Google Shape;272;p2"/>
          <p:cNvSpPr txBox="1"/>
          <p:nvPr/>
        </p:nvSpPr>
        <p:spPr>
          <a:xfrm>
            <a:off x="420329" y="983219"/>
            <a:ext cx="11325300" cy="6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600"/>
              <a:buFont typeface="Arial"/>
              <a:buNone/>
            </a:pPr>
            <a:r>
              <a:rPr lang="en-US" sz="2400" b="1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Objective: Comprehensive screening, testing, and treatment for Hepatitis C in Pakistan</a:t>
            </a:r>
            <a:endParaRPr sz="2400" b="1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3" name="Google Shape;273;p2"/>
          <p:cNvSpPr txBox="1"/>
          <p:nvPr/>
        </p:nvSpPr>
        <p:spPr>
          <a:xfrm>
            <a:off x="0" y="0"/>
            <a:ext cx="12192000" cy="573900"/>
          </a:xfrm>
          <a:prstGeom prst="rect">
            <a:avLst/>
          </a:prstGeom>
          <a:solidFill>
            <a:srgbClr val="B6D7A8">
              <a:alpha val="52156"/>
            </a:srgbClr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-US" sz="3400" b="1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Programme Overview</a:t>
            </a:r>
            <a:endParaRPr sz="3400"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74" name="Google Shape;274;p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93338" y="1535963"/>
            <a:ext cx="2262074" cy="2262074"/>
          </a:xfrm>
          <a:prstGeom prst="rect">
            <a:avLst/>
          </a:prstGeom>
          <a:noFill/>
          <a:ln>
            <a:noFill/>
          </a:ln>
        </p:spPr>
      </p:pic>
      <p:pic>
        <p:nvPicPr>
          <p:cNvPr id="275" name="Google Shape;275;p2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717505" y="1301513"/>
            <a:ext cx="2730974" cy="2730974"/>
          </a:xfrm>
          <a:prstGeom prst="rect">
            <a:avLst/>
          </a:prstGeom>
          <a:noFill/>
          <a:ln>
            <a:noFill/>
          </a:ln>
        </p:spPr>
      </p:pic>
      <p:pic>
        <p:nvPicPr>
          <p:cNvPr id="276" name="Google Shape;276;p2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8758958" y="1477150"/>
            <a:ext cx="2379700" cy="2379700"/>
          </a:xfrm>
          <a:prstGeom prst="rect">
            <a:avLst/>
          </a:prstGeom>
          <a:noFill/>
          <a:ln>
            <a:noFill/>
          </a:ln>
        </p:spPr>
      </p:pic>
      <p:sp>
        <p:nvSpPr>
          <p:cNvPr id="277" name="Google Shape;277;p2"/>
          <p:cNvSpPr txBox="1">
            <a:spLocks noGrp="1"/>
          </p:cNvSpPr>
          <p:nvPr>
            <p:ph type="sldNum" idx="12"/>
          </p:nvPr>
        </p:nvSpPr>
        <p:spPr>
          <a:xfrm>
            <a:off x="9448800" y="6508750"/>
            <a:ext cx="2743200" cy="3651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latin typeface="Calibri"/>
                <a:ea typeface="Calibri"/>
                <a:cs typeface="Calibri"/>
                <a:sym typeface="Calibri"/>
              </a:rPr>
              <a:t>2</a:t>
            </a:r>
            <a:endParaRPr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112436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2DB205-F25C-5FF7-BCA9-9037F664B3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10515600" cy="737455"/>
          </a:xfrm>
        </p:spPr>
        <p:txBody>
          <a:bodyPr>
            <a:normAutofit fontScale="90000"/>
          </a:bodyPr>
          <a:lstStyle/>
          <a:p>
            <a:br>
              <a:rPr lang="en-US" sz="4400" b="1" dirty="0"/>
            </a:br>
            <a:r>
              <a:rPr lang="en-US" sz="4400" b="1" dirty="0"/>
              <a:t>PM Program Targets for 3 years</a:t>
            </a:r>
            <a:br>
              <a:rPr lang="en-US" sz="4400" b="1" dirty="0"/>
            </a:b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8EAC6D7-CC5B-E243-60D3-EB8224FA37EE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Total pop= 253 million</a:t>
            </a:r>
          </a:p>
          <a:p>
            <a:r>
              <a:rPr lang="en-US" sz="3200" dirty="0"/>
              <a:t>Eligible pop (&gt;12 years) = 165 million</a:t>
            </a:r>
          </a:p>
          <a:p>
            <a:r>
              <a:rPr lang="en-US" sz="3200" dirty="0"/>
              <a:t>50% (82.547 million)</a:t>
            </a:r>
          </a:p>
          <a:p>
            <a:pPr marL="0" indent="0">
              <a:buNone/>
            </a:pPr>
            <a:r>
              <a:rPr lang="en-US" sz="3200" dirty="0"/>
              <a:t>addressed in 1</a:t>
            </a:r>
            <a:r>
              <a:rPr lang="en-US" sz="3200" baseline="30000" dirty="0"/>
              <a:t>st</a:t>
            </a:r>
            <a:r>
              <a:rPr lang="en-US" sz="3200" dirty="0"/>
              <a:t> phas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F051537-FBB9-5969-BC72-B1D8BE123760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Federal Govt will support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All screening=82.547 mill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30% PCR= 1.7 mill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50% treatment= 3.8 million</a:t>
            </a:r>
          </a:p>
          <a:p>
            <a:endParaRPr lang="en-US" dirty="0"/>
          </a:p>
        </p:txBody>
      </p:sp>
      <p:pic>
        <p:nvPicPr>
          <p:cNvPr id="4" name="Picture 4" descr="Text&#10;&#10;Description automatically generated with low confidence">
            <a:extLst>
              <a:ext uri="{FF2B5EF4-FFF2-40B4-BE49-F238E27FC236}">
                <a16:creationId xmlns:a16="http://schemas.microsoft.com/office/drawing/2014/main" id="{724C12FA-11DA-FC59-3E02-8700303D83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102850" y="205604"/>
            <a:ext cx="1850904" cy="1642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47246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VerticalDefaul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heme/theme1.xml><?xml version="1.0" encoding="utf-8"?>
<a:theme xmlns:a="http://schemas.openxmlformats.org/drawingml/2006/main" name="10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6837"/>
      </a:accent1>
      <a:accent2>
        <a:srgbClr val="4B9506"/>
      </a:accent2>
      <a:accent3>
        <a:srgbClr val="57AE07"/>
      </a:accent3>
      <a:accent4>
        <a:srgbClr val="74D41C"/>
      </a:accent4>
      <a:accent5>
        <a:srgbClr val="004614"/>
      </a:accent5>
      <a:accent6>
        <a:srgbClr val="4D4D4D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06837"/>
        </a:accent1>
        <a:accent2>
          <a:srgbClr val="4B9506"/>
        </a:accent2>
        <a:accent3>
          <a:srgbClr val="57AE07"/>
        </a:accent3>
        <a:accent4>
          <a:srgbClr val="74D41C"/>
        </a:accent4>
        <a:accent5>
          <a:srgbClr val="004614"/>
        </a:accent5>
        <a:accent6>
          <a:srgbClr val="4D4D4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C3922E"/>
    </a:custClr>
  </a:custClrLst>
  <a:extLst>
    <a:ext uri="{05A4C25C-085E-4340-85A3-A5531E510DB2}">
      <thm15:themeFamily xmlns:thm15="http://schemas.microsoft.com/office/thememl/2012/main" name="KR0137_CF (v4)" id="{C8437B25-9804-4200-B650-2144F1B4888E}" vid="{6B64B7AF-1F53-4991-B3BB-A5097C8BA4EA}"/>
    </a:ext>
  </a:extLst>
</a:theme>
</file>

<file path=ppt/theme/theme2.xml><?xml version="1.0" encoding="utf-8"?>
<a:theme xmlns:a="http://schemas.openxmlformats.org/drawingml/2006/main" name="11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6837"/>
      </a:accent1>
      <a:accent2>
        <a:srgbClr val="4B9506"/>
      </a:accent2>
      <a:accent3>
        <a:srgbClr val="57AE07"/>
      </a:accent3>
      <a:accent4>
        <a:srgbClr val="74D41C"/>
      </a:accent4>
      <a:accent5>
        <a:srgbClr val="004614"/>
      </a:accent5>
      <a:accent6>
        <a:srgbClr val="4D4D4D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06837"/>
        </a:accent1>
        <a:accent2>
          <a:srgbClr val="4B9506"/>
        </a:accent2>
        <a:accent3>
          <a:srgbClr val="57AE07"/>
        </a:accent3>
        <a:accent4>
          <a:srgbClr val="74D41C"/>
        </a:accent4>
        <a:accent5>
          <a:srgbClr val="004614"/>
        </a:accent5>
        <a:accent6>
          <a:srgbClr val="4D4D4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C3922E"/>
    </a:custClr>
  </a:custClrLst>
  <a:extLst>
    <a:ext uri="{05A4C25C-085E-4340-85A3-A5531E510DB2}">
      <thm15:themeFamily xmlns:thm15="http://schemas.microsoft.com/office/thememl/2012/main" name="KR0137_CF (v4)" id="{C8437B25-9804-4200-B650-2144F1B4888E}" vid="{6B64B7AF-1F53-4991-B3BB-A5097C8BA4EA}"/>
    </a:ext>
  </a:extLst>
</a:theme>
</file>

<file path=ppt/theme/theme3.xml><?xml version="1.0" encoding="utf-8"?>
<a:theme xmlns:a="http://schemas.openxmlformats.org/drawingml/2006/main" name="3_UKD024 Template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54C14"/>
      </a:accent1>
      <a:accent2>
        <a:srgbClr val="008000"/>
      </a:accent2>
      <a:accent3>
        <a:srgbClr val="0DAE3E"/>
      </a:accent3>
      <a:accent4>
        <a:srgbClr val="A1E0B4"/>
      </a:accent4>
      <a:accent5>
        <a:srgbClr val="FF6600"/>
      </a:accent5>
      <a:accent6>
        <a:srgbClr val="808080"/>
      </a:accent6>
      <a:hlink>
        <a:srgbClr val="0DAE3E"/>
      </a:hlink>
      <a:folHlink>
        <a:srgbClr val="A1E0B4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054C14"/>
        </a:accent1>
        <a:accent2>
          <a:srgbClr val="008000"/>
        </a:accent2>
        <a:accent3>
          <a:srgbClr val="0DAE3E"/>
        </a:accent3>
        <a:accent4>
          <a:srgbClr val="A1E0B4"/>
        </a:accent4>
        <a:accent5>
          <a:srgbClr val="FF6600"/>
        </a:accent5>
        <a:accent6>
          <a:srgbClr val="808080"/>
        </a:accent6>
        <a:hlink>
          <a:srgbClr val="0DAE3E"/>
        </a:hlink>
        <a:folHlink>
          <a:srgbClr val="A1E0B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UKD024 Template.potx" id="{8FCAE133-8443-4098-BF24-179F2058F480}" vid="{671BC7B3-EFD7-4DFE-951A-6D19FF6E6626}"/>
    </a:ext>
  </a:extLst>
</a:theme>
</file>

<file path=ppt/theme/theme4.xml><?xml version="1.0" encoding="utf-8"?>
<a:theme xmlns:a="http://schemas.openxmlformats.org/drawingml/2006/main" name="FLLTheme1">
  <a:themeElements>
    <a:clrScheme name="Custom 1">
      <a:dk1>
        <a:srgbClr val="1FBBEE"/>
      </a:dk1>
      <a:lt1>
        <a:srgbClr val="FFFFFF"/>
      </a:lt1>
      <a:dk2>
        <a:srgbClr val="0A84C0"/>
      </a:dk2>
      <a:lt2>
        <a:srgbClr val="7F7F7F"/>
      </a:lt2>
      <a:accent1>
        <a:srgbClr val="A5E3F8"/>
      </a:accent1>
      <a:accent2>
        <a:srgbClr val="8FD6F7"/>
      </a:accent2>
      <a:accent3>
        <a:srgbClr val="EF7A28"/>
      </a:accent3>
      <a:accent4>
        <a:srgbClr val="EA4425"/>
      </a:accent4>
      <a:accent5>
        <a:srgbClr val="F5AF7E"/>
      </a:accent5>
      <a:accent6>
        <a:srgbClr val="F28E7C"/>
      </a:accent6>
      <a:hlink>
        <a:srgbClr val="0A84C0"/>
      </a:hlink>
      <a:folHlink>
        <a:srgbClr val="1FBBE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FLLTheme1" id="{D44273D3-D51C-4802-8D22-5D86B69CE257}" vid="{3B98054D-402D-445D-8EFF-93DC101CFCC7}"/>
    </a:ext>
  </a:extLst>
</a:theme>
</file>

<file path=ppt/theme/theme5.xml><?xml version="1.0" encoding="utf-8"?>
<a:theme xmlns:a="http://schemas.openxmlformats.org/drawingml/2006/main" name="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6837"/>
      </a:accent1>
      <a:accent2>
        <a:srgbClr val="4B9506"/>
      </a:accent2>
      <a:accent3>
        <a:srgbClr val="57AE07"/>
      </a:accent3>
      <a:accent4>
        <a:srgbClr val="74D41C"/>
      </a:accent4>
      <a:accent5>
        <a:srgbClr val="004614"/>
      </a:accent5>
      <a:accent6>
        <a:srgbClr val="4D4D4D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06837"/>
        </a:accent1>
        <a:accent2>
          <a:srgbClr val="4B9506"/>
        </a:accent2>
        <a:accent3>
          <a:srgbClr val="57AE07"/>
        </a:accent3>
        <a:accent4>
          <a:srgbClr val="74D41C"/>
        </a:accent4>
        <a:accent5>
          <a:srgbClr val="004614"/>
        </a:accent5>
        <a:accent6>
          <a:srgbClr val="4D4D4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C3922E"/>
    </a:custClr>
  </a:custClrLst>
  <a:extLst>
    <a:ext uri="{05A4C25C-085E-4340-85A3-A5531E510DB2}">
      <thm15:themeFamily xmlns:thm15="http://schemas.microsoft.com/office/thememl/2012/main" name="KR0137_CF (v4)" id="{C8437B25-9804-4200-B650-2144F1B4888E}" vid="{6B64B7AF-1F53-4991-B3BB-A5097C8BA4EA}"/>
    </a:ext>
  </a:extLst>
</a:theme>
</file>

<file path=ppt/theme/theme6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1_FLLTheme1">
  <a:themeElements>
    <a:clrScheme name="Custom 1">
      <a:dk1>
        <a:srgbClr val="1FBBEE"/>
      </a:dk1>
      <a:lt1>
        <a:srgbClr val="FFFFFF"/>
      </a:lt1>
      <a:dk2>
        <a:srgbClr val="0A84C0"/>
      </a:dk2>
      <a:lt2>
        <a:srgbClr val="7F7F7F"/>
      </a:lt2>
      <a:accent1>
        <a:srgbClr val="A5E3F8"/>
      </a:accent1>
      <a:accent2>
        <a:srgbClr val="8FD6F7"/>
      </a:accent2>
      <a:accent3>
        <a:srgbClr val="EF7A28"/>
      </a:accent3>
      <a:accent4>
        <a:srgbClr val="EA4425"/>
      </a:accent4>
      <a:accent5>
        <a:srgbClr val="F5AF7E"/>
      </a:accent5>
      <a:accent6>
        <a:srgbClr val="F28E7C"/>
      </a:accent6>
      <a:hlink>
        <a:srgbClr val="0A84C0"/>
      </a:hlink>
      <a:folHlink>
        <a:srgbClr val="1FBBE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FLLTheme1" id="{D44273D3-D51C-4802-8D22-5D86B69CE257}" vid="{3B98054D-402D-445D-8EFF-93DC101CFCC7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6736</TotalTime>
  <Words>1980</Words>
  <Application>Microsoft Office PowerPoint</Application>
  <PresentationFormat>Widescreen</PresentationFormat>
  <Paragraphs>459</Paragraphs>
  <Slides>29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47" baseType="lpstr">
      <vt:lpstr>Aptos</vt:lpstr>
      <vt:lpstr>Arial</vt:lpstr>
      <vt:lpstr>Calibri</vt:lpstr>
      <vt:lpstr>Calibri Light</vt:lpstr>
      <vt:lpstr>Gill Sans MT</vt:lpstr>
      <vt:lpstr>Helvetica Neue</vt:lpstr>
      <vt:lpstr>Segoe UI</vt:lpstr>
      <vt:lpstr>Source Serif Pro</vt:lpstr>
      <vt:lpstr>Symbol</vt:lpstr>
      <vt:lpstr>Wingdings</vt:lpstr>
      <vt:lpstr>10_White</vt:lpstr>
      <vt:lpstr>11_White</vt:lpstr>
      <vt:lpstr>3_UKD024 Template</vt:lpstr>
      <vt:lpstr>FLLTheme1</vt:lpstr>
      <vt:lpstr>White</vt:lpstr>
      <vt:lpstr>2_Office Theme</vt:lpstr>
      <vt:lpstr>1_FLLTheme1</vt:lpstr>
      <vt:lpstr>think-cell Slide</vt:lpstr>
      <vt:lpstr>PowerPoint Presentation</vt:lpstr>
      <vt:lpstr>PowerPoint Presentation</vt:lpstr>
      <vt:lpstr>PowerPoint Presentation</vt:lpstr>
      <vt:lpstr>HCV Prevalence:2022</vt:lpstr>
      <vt:lpstr>PowerPoint Presentation</vt:lpstr>
      <vt:lpstr>PowerPoint Presentation</vt:lpstr>
      <vt:lpstr>PowerPoint Presentation</vt:lpstr>
      <vt:lpstr>PowerPoint Presentation</vt:lpstr>
      <vt:lpstr> PM Program Targets for 3 years </vt:lpstr>
      <vt:lpstr>50% population in 4 Provinces and 2 regions &amp; ICT </vt:lpstr>
      <vt:lpstr>Pilot projects of HCV elimination in GB and Sindh</vt:lpstr>
      <vt:lpstr>Next steps</vt:lpstr>
      <vt:lpstr>PowerPoint Presentation</vt:lpstr>
      <vt:lpstr>PowerPoint Presentation</vt:lpstr>
      <vt:lpstr>Only WHO prequalified tests shall be used</vt:lpstr>
      <vt:lpstr>HCV medicines-Made in Pakistan </vt:lpstr>
      <vt:lpstr>PowerPoint Presentation</vt:lpstr>
      <vt:lpstr>PowerPoint Presentation</vt:lpstr>
      <vt:lpstr>Current position of the Project</vt:lpstr>
      <vt:lpstr>Challenges addressed: 1.Paper based data</vt:lpstr>
      <vt:lpstr>Challenges addressed: 2. Silent killer</vt:lpstr>
      <vt:lpstr>Challenges addressed: 3. Issues of LIMC</vt:lpstr>
      <vt:lpstr>Challenges addressed: 4. PCR test and its reporting</vt:lpstr>
      <vt:lpstr>Challenges addressed:5. Treatment</vt:lpstr>
      <vt:lpstr>Conclusions </vt:lpstr>
      <vt:lpstr>PowerPoint Presentation</vt:lpstr>
      <vt:lpstr>Districts with high HCV Prevalence</vt:lpstr>
      <vt:lpstr>High Prevalence HCV Districts</vt:lpstr>
      <vt:lpstr>Districts with high HCV Prevalenc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bdul piracha</dc:creator>
  <cp:lastModifiedBy>Huma Qureshi</cp:lastModifiedBy>
  <cp:revision>537</cp:revision>
  <cp:lastPrinted>2021-10-12T11:55:49Z</cp:lastPrinted>
  <dcterms:created xsi:type="dcterms:W3CDTF">2020-12-09T14:00:58Z</dcterms:created>
  <dcterms:modified xsi:type="dcterms:W3CDTF">2025-05-31T13:43:42Z</dcterms:modified>
</cp:coreProperties>
</file>